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av" ContentType="audio/wav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8" r:id="rId1"/>
    <p:sldMasterId id="2147483700" r:id="rId2"/>
    <p:sldMasterId id="2147483707" r:id="rId3"/>
  </p:sldMasterIdLst>
  <p:notesMasterIdLst>
    <p:notesMasterId r:id="rId46"/>
  </p:notesMasterIdLst>
  <p:sldIdLst>
    <p:sldId id="256" r:id="rId4"/>
    <p:sldId id="378" r:id="rId5"/>
    <p:sldId id="271" r:id="rId6"/>
    <p:sldId id="262" r:id="rId7"/>
    <p:sldId id="279" r:id="rId8"/>
    <p:sldId id="257" r:id="rId9"/>
    <p:sldId id="264" r:id="rId10"/>
    <p:sldId id="265" r:id="rId11"/>
    <p:sldId id="266" r:id="rId12"/>
    <p:sldId id="267" r:id="rId13"/>
    <p:sldId id="280" r:id="rId14"/>
    <p:sldId id="269" r:id="rId15"/>
    <p:sldId id="272" r:id="rId16"/>
    <p:sldId id="273" r:id="rId17"/>
    <p:sldId id="365" r:id="rId18"/>
    <p:sldId id="293" r:id="rId19"/>
    <p:sldId id="366" r:id="rId20"/>
    <p:sldId id="284" r:id="rId21"/>
    <p:sldId id="270" r:id="rId22"/>
    <p:sldId id="367" r:id="rId23"/>
    <p:sldId id="368" r:id="rId24"/>
    <p:sldId id="285" r:id="rId25"/>
    <p:sldId id="294" r:id="rId26"/>
    <p:sldId id="287" r:id="rId27"/>
    <p:sldId id="282" r:id="rId28"/>
    <p:sldId id="283" r:id="rId29"/>
    <p:sldId id="288" r:id="rId30"/>
    <p:sldId id="369" r:id="rId31"/>
    <p:sldId id="281" r:id="rId32"/>
    <p:sldId id="370" r:id="rId33"/>
    <p:sldId id="371" r:id="rId34"/>
    <p:sldId id="372" r:id="rId35"/>
    <p:sldId id="373" r:id="rId36"/>
    <p:sldId id="374" r:id="rId37"/>
    <p:sldId id="286" r:id="rId38"/>
    <p:sldId id="277" r:id="rId39"/>
    <p:sldId id="375" r:id="rId40"/>
    <p:sldId id="376" r:id="rId41"/>
    <p:sldId id="289" r:id="rId42"/>
    <p:sldId id="290" r:id="rId43"/>
    <p:sldId id="377" r:id="rId44"/>
    <p:sldId id="505" r:id="rId45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78" d="100"/>
          <a:sy n="78" d="100"/>
        </p:scale>
        <p:origin x="45" y="16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slide" Target="slides/slide3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viewProps" Target="viewProps.xml"/><Relationship Id="rId8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w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26.wmf"/><Relationship Id="rId1" Type="http://schemas.openxmlformats.org/officeDocument/2006/relationships/image" Target="../media/image25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w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FCFBA887-B4F1-4F42-9533-7A27FC7CB752}" type="datetimeFigureOut">
              <a:rPr lang="zh-CN" altLang="en-US"/>
              <a:pPr>
                <a:defRPr/>
              </a:pPr>
              <a:t>2020/2/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zh-CN" altLang="en-US" noProof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noProof="0"/>
              <a:t>单击此处编辑母版文本样式</a:t>
            </a:r>
          </a:p>
          <a:p>
            <a:pPr lvl="1"/>
            <a:r>
              <a:rPr lang="zh-CN" altLang="en-US" noProof="0"/>
              <a:t>第二级</a:t>
            </a:r>
          </a:p>
          <a:p>
            <a:pPr lvl="2"/>
            <a:r>
              <a:rPr lang="zh-CN" altLang="en-US" noProof="0"/>
              <a:t>第三级</a:t>
            </a:r>
          </a:p>
          <a:p>
            <a:pPr lvl="3"/>
            <a:r>
              <a:rPr lang="zh-CN" altLang="en-US" noProof="0"/>
              <a:t>第四级</a:t>
            </a:r>
          </a:p>
          <a:p>
            <a:pPr lvl="4"/>
            <a:r>
              <a:rPr lang="zh-CN" altLang="en-US" noProof="0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1AB67025-B2DF-45FC-97E1-8165954805F8}" type="slidenum">
              <a:rPr lang="zh-CN" altLang="en-US"/>
              <a:pPr>
                <a:defRPr/>
              </a:pPr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6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/>
          </a:p>
        </p:txBody>
      </p:sp>
      <p:sp>
        <p:nvSpPr>
          <p:cNvPr id="16387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6C227037-D613-4503-8E12-13CB3ABDB9ED}" type="slidenum">
              <a:rPr lang="zh-CN" altLang="en-US" smtClean="0"/>
              <a:pPr/>
              <a:t>3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794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/>
          </a:p>
        </p:txBody>
      </p:sp>
      <p:sp>
        <p:nvSpPr>
          <p:cNvPr id="33795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A955704F-1E64-4F23-8FB7-00ACE916EBDD}" type="slidenum">
              <a:rPr lang="zh-CN" altLang="en-US" smtClean="0"/>
              <a:pPr/>
              <a:t>13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5842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/>
          </a:p>
        </p:txBody>
      </p:sp>
      <p:sp>
        <p:nvSpPr>
          <p:cNvPr id="35843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F10B0185-BC0D-4DB1-A6B9-4326854966C3}" type="slidenum">
              <a:rPr lang="zh-CN" altLang="en-US" smtClean="0"/>
              <a:pPr/>
              <a:t>14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410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/>
          </a:p>
        </p:txBody>
      </p:sp>
      <p:sp>
        <p:nvSpPr>
          <p:cNvPr id="17411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74EF9EB6-4A7D-4AEF-AE95-21C8FB9E784A}" type="slidenum">
              <a:rPr lang="zh-CN" altLang="en-US" smtClean="0"/>
              <a:pPr/>
              <a:t>15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602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/>
          </a:p>
        </p:txBody>
      </p:sp>
      <p:sp>
        <p:nvSpPr>
          <p:cNvPr id="25603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3E881F3C-2D16-447D-8DF2-3A9EF2642134}" type="slidenum">
              <a:rPr lang="zh-CN" altLang="en-US" smtClean="0"/>
              <a:pPr/>
              <a:t>17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794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/>
          </a:p>
        </p:txBody>
      </p:sp>
      <p:sp>
        <p:nvSpPr>
          <p:cNvPr id="33795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C232FCC9-110B-4EAB-8D78-DFCFBF77A60A}" type="slidenum">
              <a:rPr lang="zh-CN" altLang="en-US" smtClean="0"/>
              <a:pPr/>
              <a:t>25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5842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/>
          </a:p>
        </p:txBody>
      </p:sp>
      <p:sp>
        <p:nvSpPr>
          <p:cNvPr id="35843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53416D51-925C-4E54-8762-0517BBA5108B}" type="slidenum">
              <a:rPr lang="zh-CN" altLang="en-US" smtClean="0"/>
              <a:pPr/>
              <a:t>26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7890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/>
          </a:p>
        </p:txBody>
      </p:sp>
      <p:sp>
        <p:nvSpPr>
          <p:cNvPr id="37891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AB9BD361-FF9C-4F1D-B305-5D4A153CC9FB}" type="slidenum">
              <a:rPr lang="zh-CN" altLang="en-US" smtClean="0"/>
              <a:pPr/>
              <a:t>27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8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/>
          </a:p>
        </p:txBody>
      </p:sp>
      <p:sp>
        <p:nvSpPr>
          <p:cNvPr id="19459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AC7CAA89-D8CC-435E-8833-2509B6939EB7}" type="slidenum">
              <a:rPr lang="zh-CN" altLang="en-US" smtClean="0"/>
              <a:pPr/>
              <a:t>28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4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/>
          </a:p>
        </p:txBody>
      </p:sp>
      <p:sp>
        <p:nvSpPr>
          <p:cNvPr id="23555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ADA30382-B6E6-481A-8BD8-F864FFF0DFFA}" type="slidenum">
              <a:rPr lang="zh-CN" altLang="en-US" smtClean="0"/>
              <a:pPr/>
              <a:t>31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626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/>
          </a:p>
        </p:txBody>
      </p:sp>
      <p:sp>
        <p:nvSpPr>
          <p:cNvPr id="26627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8667E72F-CBAD-4DF3-B718-FB6D077DFE9C}" type="slidenum">
              <a:rPr lang="zh-CN" altLang="en-US" smtClean="0"/>
              <a:pPr/>
              <a:t>33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/>
          </a:p>
        </p:txBody>
      </p:sp>
      <p:sp>
        <p:nvSpPr>
          <p:cNvPr id="18435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9D26179D-CDB5-472F-BCD1-34CEC113244E}" type="slidenum">
              <a:rPr lang="zh-CN" altLang="en-US" smtClean="0"/>
              <a:pPr/>
              <a:t>4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674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/>
          </a:p>
        </p:txBody>
      </p:sp>
      <p:sp>
        <p:nvSpPr>
          <p:cNvPr id="28675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87EAF83C-0E2C-49D3-B8F2-222EC118E7BD}" type="slidenum">
              <a:rPr lang="zh-CN" altLang="en-US" smtClean="0"/>
              <a:pPr/>
              <a:t>34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22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/>
          </a:p>
        </p:txBody>
      </p:sp>
      <p:sp>
        <p:nvSpPr>
          <p:cNvPr id="30723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375E44AD-751E-4431-BEB3-A99E60103FE3}" type="slidenum">
              <a:rPr lang="zh-CN" altLang="en-US" smtClean="0"/>
              <a:pPr/>
              <a:t>35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6866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/>
          </a:p>
        </p:txBody>
      </p:sp>
      <p:sp>
        <p:nvSpPr>
          <p:cNvPr id="36867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B47F9198-BAA0-421C-87D3-D805A919301E}" type="slidenum">
              <a:rPr lang="zh-CN" altLang="en-US" smtClean="0"/>
              <a:pPr/>
              <a:t>39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4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/>
          </a:p>
        </p:txBody>
      </p:sp>
      <p:sp>
        <p:nvSpPr>
          <p:cNvPr id="38915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B10DB536-A5CE-46E1-8F4D-2F7FFB3C06E2}" type="slidenum">
              <a:rPr lang="zh-CN" altLang="en-US" smtClean="0"/>
              <a:pPr/>
              <a:t>40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506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/>
          </a:p>
        </p:txBody>
      </p:sp>
      <p:sp>
        <p:nvSpPr>
          <p:cNvPr id="21507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4EDFCF87-C6E5-4EB9-8060-A9841131F69A}" type="slidenum">
              <a:rPr lang="zh-CN" altLang="en-US" smtClean="0"/>
              <a:pPr/>
              <a:t>6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4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/>
          </a:p>
        </p:txBody>
      </p:sp>
      <p:sp>
        <p:nvSpPr>
          <p:cNvPr id="23555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EBF1113E-0AF6-4941-BFD3-5CCDD85A0BFB}" type="slidenum">
              <a:rPr lang="zh-CN" altLang="en-US" smtClean="0"/>
              <a:pPr/>
              <a:t>7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602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/>
          </a:p>
        </p:txBody>
      </p:sp>
      <p:sp>
        <p:nvSpPr>
          <p:cNvPr id="25603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CC6A593C-E2E3-45C1-A076-D7EC0D7F05D2}" type="slidenum">
              <a:rPr lang="zh-CN" altLang="en-US" smtClean="0"/>
              <a:pPr/>
              <a:t>8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7650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/>
          </a:p>
        </p:txBody>
      </p:sp>
      <p:sp>
        <p:nvSpPr>
          <p:cNvPr id="27651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B562E33F-ECD9-43C0-9C0A-9CA592BAB4AB}" type="slidenum">
              <a:rPr lang="zh-CN" altLang="en-US" smtClean="0"/>
              <a:pPr/>
              <a:t>9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8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/>
          </a:p>
        </p:txBody>
      </p:sp>
      <p:sp>
        <p:nvSpPr>
          <p:cNvPr id="29699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D733250-8188-4FAE-BD7F-88C0271F0C75}" type="slidenum">
              <a:rPr lang="zh-CN" altLang="en-US" smtClean="0"/>
              <a:pPr/>
              <a:t>10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8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/>
          </a:p>
        </p:txBody>
      </p:sp>
      <p:sp>
        <p:nvSpPr>
          <p:cNvPr id="29699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D733250-8188-4FAE-BD7F-88C0271F0C75}" type="slidenum">
              <a:rPr lang="zh-CN" altLang="en-US" smtClean="0"/>
              <a:pPr/>
              <a:t>11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6" name="备注占位符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CN" altLang="en-US"/>
          </a:p>
        </p:txBody>
      </p:sp>
      <p:sp>
        <p:nvSpPr>
          <p:cNvPr id="31747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CCB5487F-5D42-4F8F-B510-F3BDDFC31C13}" type="slidenum">
              <a:rPr lang="zh-CN" altLang="en-US" smtClean="0"/>
              <a:pPr/>
              <a:t>12</a:t>
            </a:fld>
            <a:endParaRPr lang="en-US" altLang="zh-CN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800"/>
            </a:lvl4pPr>
            <a:lvl5pPr marL="1828800" indent="0" algn="ctr">
              <a:buNone/>
              <a:defRPr sz="1800"/>
            </a:lvl5pPr>
            <a:lvl6pPr marL="2286000" indent="0" algn="ctr">
              <a:buNone/>
              <a:defRPr sz="1800"/>
            </a:lvl6pPr>
            <a:lvl7pPr marL="2743200" indent="0" algn="ctr">
              <a:buNone/>
              <a:defRPr sz="1800"/>
            </a:lvl7pPr>
            <a:lvl8pPr marL="3200400" indent="0" algn="ctr">
              <a:buNone/>
              <a:defRPr sz="1800"/>
            </a:lvl8pPr>
            <a:lvl9pPr marL="3657600" indent="0" algn="ctr">
              <a:buNone/>
              <a:defRPr sz="18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fld id="{9F5E27A3-2622-493A-A382-B8CFC04E7A4D}" type="datetimeFigureOut">
              <a:rPr lang="zh-CN" altLang="en-US" smtClean="0"/>
              <a:pPr>
                <a:defRPr/>
              </a:pPr>
              <a:t>2020/2/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14DA6D5-17EB-46AF-A66A-5120C4D9D6AD}" type="slidenum">
              <a:rPr lang="zh-CN" altLang="en-US" smtClean="0"/>
              <a:pPr>
                <a:defRPr/>
              </a:pPr>
              <a:t>‹#›</a:t>
            </a:fld>
            <a:endParaRPr lang="zh-CN" alt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62630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BCD623AD-3E6A-43C1-8BB5-99743EE7C46C}" type="datetimeFigureOut">
              <a:rPr lang="zh-CN" altLang="en-US" smtClean="0"/>
              <a:pPr>
                <a:defRPr/>
              </a:pPr>
              <a:t>2020/2/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F43C8B3-0C9C-4578-A129-7E48D56877D4}" type="slidenum">
              <a:rPr lang="zh-CN" altLang="en-US" smtClean="0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840646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762000"/>
            <a:ext cx="2628900" cy="5410200"/>
          </a:xfrm>
        </p:spPr>
        <p:txBody>
          <a:bodyPr vert="eaVert" lIns="45720" tIns="91440" rIns="45720" bIns="91440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1" y="762000"/>
            <a:ext cx="7581900" cy="5410200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5E27A3-2622-493A-A382-B8CFC04E7A4D}" type="datetimeFigureOut">
              <a:rPr lang="zh-CN" altLang="en-US" smtClean="0"/>
              <a:pPr>
                <a:defRPr/>
              </a:pPr>
              <a:t>2020/2/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14DA6D5-17EB-46AF-A66A-5120C4D9D6AD}" type="slidenum">
              <a:rPr lang="zh-CN" altLang="en-US" smtClean="0"/>
              <a:pPr>
                <a:defRPr/>
              </a:pPr>
              <a:t>‹#›</a:t>
            </a:fld>
            <a:endParaRPr lang="zh-CN" altLang="en-US"/>
          </a:p>
        </p:txBody>
      </p:sp>
      <p:cxnSp>
        <p:nvCxnSpPr>
          <p:cNvPr id="7" name="Straight Connector 6"/>
          <p:cNvCxnSpPr/>
          <p:nvPr/>
        </p:nvCxnSpPr>
        <p:spPr>
          <a:xfrm rot="5400000" flipV="1">
            <a:off x="10058400" y="59263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75919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0" name="矩形 9799">
            <a:extLst>
              <a:ext uri="{FF2B5EF4-FFF2-40B4-BE49-F238E27FC236}">
                <a16:creationId xmlns:a16="http://schemas.microsoft.com/office/drawing/2014/main" id="{CCBF5B0C-6EF0-4156-9E77-CB4BA25D18BA}"/>
              </a:ext>
            </a:extLst>
          </p:cNvPr>
          <p:cNvSpPr/>
          <p:nvPr userDrawn="1"/>
        </p:nvSpPr>
        <p:spPr>
          <a:xfrm>
            <a:off x="0" y="5341669"/>
            <a:ext cx="12192000" cy="151033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099" y="4320641"/>
            <a:ext cx="7025153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1204031"/>
            <a:ext cx="7025153" cy="3130444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5522736"/>
            <a:ext cx="7025153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819007"/>
            <a:ext cx="7025153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9798" name="组合 9797">
            <a:extLst>
              <a:ext uri="{FF2B5EF4-FFF2-40B4-BE49-F238E27FC236}">
                <a16:creationId xmlns:a16="http://schemas.microsoft.com/office/drawing/2014/main" id="{07F0E174-9FED-43C8-8A18-5B4212CD801A}"/>
              </a:ext>
            </a:extLst>
          </p:cNvPr>
          <p:cNvGrpSpPr/>
          <p:nvPr userDrawn="1"/>
        </p:nvGrpSpPr>
        <p:grpSpPr>
          <a:xfrm>
            <a:off x="4566143" y="3726613"/>
            <a:ext cx="4249576" cy="2175117"/>
            <a:chOff x="3094835" y="3533040"/>
            <a:chExt cx="4865003" cy="2490143"/>
          </a:xfrm>
        </p:grpSpPr>
        <p:sp>
          <p:nvSpPr>
            <p:cNvPr id="4" name="任意多边形: 形状 3">
              <a:extLst>
                <a:ext uri="{FF2B5EF4-FFF2-40B4-BE49-F238E27FC236}">
                  <a16:creationId xmlns:a16="http://schemas.microsoft.com/office/drawing/2014/main" id="{669A7D74-BA57-45DB-AAF9-86CC36D79FFF}"/>
                </a:ext>
              </a:extLst>
            </p:cNvPr>
            <p:cNvSpPr/>
            <p:nvPr/>
          </p:nvSpPr>
          <p:spPr>
            <a:xfrm>
              <a:off x="5073768" y="4330027"/>
              <a:ext cx="28575" cy="219077"/>
            </a:xfrm>
            <a:custGeom>
              <a:avLst/>
              <a:gdLst>
                <a:gd name="connsiteX0" fmla="*/ 0 w 28575"/>
                <a:gd name="connsiteY0" fmla="*/ 13787 h 219075"/>
                <a:gd name="connsiteX1" fmla="*/ 0 w 28575"/>
                <a:gd name="connsiteY1" fmla="*/ 213908 h 219075"/>
                <a:gd name="connsiteX2" fmla="*/ 28575 w 28575"/>
                <a:gd name="connsiteY2" fmla="*/ 213908 h 219075"/>
                <a:gd name="connsiteX3" fmla="*/ 28575 w 28575"/>
                <a:gd name="connsiteY3" fmla="*/ 13787 h 219075"/>
                <a:gd name="connsiteX4" fmla="*/ 0 w 28575"/>
                <a:gd name="connsiteY4" fmla="*/ 13787 h 219075"/>
                <a:gd name="connsiteX5" fmla="*/ 0 w 28575"/>
                <a:gd name="connsiteY5" fmla="*/ 13787 h 219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575" h="219075">
                  <a:moveTo>
                    <a:pt x="0" y="13787"/>
                  </a:moveTo>
                  <a:cubicBezTo>
                    <a:pt x="0" y="80462"/>
                    <a:pt x="0" y="147233"/>
                    <a:pt x="0" y="213908"/>
                  </a:cubicBezTo>
                  <a:cubicBezTo>
                    <a:pt x="0" y="232291"/>
                    <a:pt x="28575" y="232291"/>
                    <a:pt x="28575" y="213908"/>
                  </a:cubicBezTo>
                  <a:cubicBezTo>
                    <a:pt x="28575" y="147233"/>
                    <a:pt x="28575" y="80462"/>
                    <a:pt x="28575" y="13787"/>
                  </a:cubicBezTo>
                  <a:cubicBezTo>
                    <a:pt x="28575" y="-4596"/>
                    <a:pt x="0" y="-4596"/>
                    <a:pt x="0" y="13787"/>
                  </a:cubicBezTo>
                  <a:lnTo>
                    <a:pt x="0" y="13787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" name="任意多边形: 形状 4">
              <a:extLst>
                <a:ext uri="{FF2B5EF4-FFF2-40B4-BE49-F238E27FC236}">
                  <a16:creationId xmlns:a16="http://schemas.microsoft.com/office/drawing/2014/main" id="{CE3CF45D-3079-40FF-BE61-693927705DC4}"/>
                </a:ext>
              </a:extLst>
            </p:cNvPr>
            <p:cNvSpPr/>
            <p:nvPr/>
          </p:nvSpPr>
          <p:spPr>
            <a:xfrm>
              <a:off x="3643459" y="3613611"/>
              <a:ext cx="1781173" cy="1047758"/>
            </a:xfrm>
            <a:custGeom>
              <a:avLst/>
              <a:gdLst>
                <a:gd name="connsiteX0" fmla="*/ 27564 w 1781175"/>
                <a:gd name="connsiteY0" fmla="*/ 1054620 h 1047750"/>
                <a:gd name="connsiteX1" fmla="*/ 218254 w 1781175"/>
                <a:gd name="connsiteY1" fmla="*/ 330148 h 1047750"/>
                <a:gd name="connsiteX2" fmla="*/ 871098 w 1781175"/>
                <a:gd name="connsiteY2" fmla="*/ 15823 h 1047750"/>
                <a:gd name="connsiteX3" fmla="*/ 1549278 w 1781175"/>
                <a:gd name="connsiteY3" fmla="*/ 150412 h 1047750"/>
                <a:gd name="connsiteX4" fmla="*/ 1779402 w 1781175"/>
                <a:gd name="connsiteY4" fmla="*/ 772394 h 1047750"/>
                <a:gd name="connsiteX5" fmla="*/ 1697296 w 1781175"/>
                <a:gd name="connsiteY5" fmla="*/ 758773 h 1047750"/>
                <a:gd name="connsiteX6" fmla="*/ 1497176 w 1781175"/>
                <a:gd name="connsiteY6" fmla="*/ 215372 h 1047750"/>
                <a:gd name="connsiteX7" fmla="*/ 883957 w 1781175"/>
                <a:gd name="connsiteY7" fmla="*/ 98119 h 1047750"/>
                <a:gd name="connsiteX8" fmla="*/ 278738 w 1781175"/>
                <a:gd name="connsiteY8" fmla="*/ 387394 h 1047750"/>
                <a:gd name="connsiteX9" fmla="*/ 107098 w 1781175"/>
                <a:gd name="connsiteY9" fmla="*/ 1029855 h 1047750"/>
                <a:gd name="connsiteX10" fmla="*/ 27564 w 1781175"/>
                <a:gd name="connsiteY10" fmla="*/ 1054620 h 1047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81175" h="1047750">
                  <a:moveTo>
                    <a:pt x="27564" y="1054620"/>
                  </a:moveTo>
                  <a:cubicBezTo>
                    <a:pt x="-45874" y="819067"/>
                    <a:pt x="30707" y="527888"/>
                    <a:pt x="218254" y="330148"/>
                  </a:cubicBezTo>
                  <a:cubicBezTo>
                    <a:pt x="372750" y="167176"/>
                    <a:pt x="598493" y="58495"/>
                    <a:pt x="871098" y="15823"/>
                  </a:cubicBezTo>
                  <a:cubicBezTo>
                    <a:pt x="1066075" y="-14657"/>
                    <a:pt x="1342014" y="-15990"/>
                    <a:pt x="1549278" y="150412"/>
                  </a:cubicBezTo>
                  <a:cubicBezTo>
                    <a:pt x="1725205" y="291667"/>
                    <a:pt x="1817693" y="541604"/>
                    <a:pt x="1779402" y="772394"/>
                  </a:cubicBezTo>
                  <a:lnTo>
                    <a:pt x="1697296" y="758773"/>
                  </a:lnTo>
                  <a:cubicBezTo>
                    <a:pt x="1730825" y="556748"/>
                    <a:pt x="1650434" y="338435"/>
                    <a:pt x="1497176" y="215372"/>
                  </a:cubicBezTo>
                  <a:cubicBezTo>
                    <a:pt x="1313629" y="67925"/>
                    <a:pt x="1062360" y="70211"/>
                    <a:pt x="883957" y="98119"/>
                  </a:cubicBezTo>
                  <a:cubicBezTo>
                    <a:pt x="706696" y="125837"/>
                    <a:pt x="457713" y="198513"/>
                    <a:pt x="278738" y="387394"/>
                  </a:cubicBezTo>
                  <a:cubicBezTo>
                    <a:pt x="111384" y="563987"/>
                    <a:pt x="42423" y="822210"/>
                    <a:pt x="107098" y="1029855"/>
                  </a:cubicBezTo>
                  <a:lnTo>
                    <a:pt x="27564" y="105462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E2723FFA-1918-4397-AA28-002F5209EA32}"/>
                </a:ext>
              </a:extLst>
            </p:cNvPr>
            <p:cNvSpPr/>
            <p:nvPr/>
          </p:nvSpPr>
          <p:spPr>
            <a:xfrm>
              <a:off x="3664256" y="3634386"/>
              <a:ext cx="1743072" cy="1000133"/>
            </a:xfrm>
            <a:custGeom>
              <a:avLst/>
              <a:gdLst>
                <a:gd name="connsiteX0" fmla="*/ 20864 w 1743075"/>
                <a:gd name="connsiteY0" fmla="*/ 1007650 h 1000125"/>
                <a:gd name="connsiteX1" fmla="*/ 212602 w 1743075"/>
                <a:gd name="connsiteY1" fmla="*/ 323659 h 1000125"/>
                <a:gd name="connsiteX2" fmla="*/ 853539 w 1743075"/>
                <a:gd name="connsiteY2" fmla="*/ 15621 h 1000125"/>
                <a:gd name="connsiteX3" fmla="*/ 1046230 w 1743075"/>
                <a:gd name="connsiteY3" fmla="*/ 0 h 1000125"/>
                <a:gd name="connsiteX4" fmla="*/ 1515527 w 1743075"/>
                <a:gd name="connsiteY4" fmla="*/ 145828 h 1000125"/>
                <a:gd name="connsiteX5" fmla="*/ 1741174 w 1743075"/>
                <a:gd name="connsiteY5" fmla="*/ 727520 h 1000125"/>
                <a:gd name="connsiteX6" fmla="*/ 1700122 w 1743075"/>
                <a:gd name="connsiteY6" fmla="*/ 720662 h 1000125"/>
                <a:gd name="connsiteX7" fmla="*/ 1489524 w 1743075"/>
                <a:gd name="connsiteY7" fmla="*/ 178213 h 1000125"/>
                <a:gd name="connsiteX8" fmla="*/ 1046421 w 1743075"/>
                <a:gd name="connsiteY8" fmla="*/ 41529 h 1000125"/>
                <a:gd name="connsiteX9" fmla="*/ 860112 w 1743075"/>
                <a:gd name="connsiteY9" fmla="*/ 56674 h 1000125"/>
                <a:gd name="connsiteX10" fmla="*/ 242987 w 1743075"/>
                <a:gd name="connsiteY10" fmla="*/ 352234 h 1000125"/>
                <a:gd name="connsiteX11" fmla="*/ 60774 w 1743075"/>
                <a:gd name="connsiteY11" fmla="*/ 995172 h 1000125"/>
                <a:gd name="connsiteX12" fmla="*/ 20864 w 1743075"/>
                <a:gd name="connsiteY12" fmla="*/ 1007650 h 1000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43075" h="1000125">
                  <a:moveTo>
                    <a:pt x="20864" y="1007650"/>
                  </a:moveTo>
                  <a:cubicBezTo>
                    <a:pt x="-40191" y="782765"/>
                    <a:pt x="35437" y="510635"/>
                    <a:pt x="212602" y="323659"/>
                  </a:cubicBezTo>
                  <a:cubicBezTo>
                    <a:pt x="363859" y="164021"/>
                    <a:pt x="585506" y="57531"/>
                    <a:pt x="853539" y="15621"/>
                  </a:cubicBezTo>
                  <a:cubicBezTo>
                    <a:pt x="919643" y="5239"/>
                    <a:pt x="984508" y="0"/>
                    <a:pt x="1046230" y="0"/>
                  </a:cubicBezTo>
                  <a:cubicBezTo>
                    <a:pt x="1237111" y="0"/>
                    <a:pt x="1395036" y="49054"/>
                    <a:pt x="1515527" y="145828"/>
                  </a:cubicBezTo>
                  <a:cubicBezTo>
                    <a:pt x="1680595" y="278321"/>
                    <a:pt x="1769654" y="509873"/>
                    <a:pt x="1741174" y="727520"/>
                  </a:cubicBezTo>
                  <a:lnTo>
                    <a:pt x="1700122" y="720662"/>
                  </a:lnTo>
                  <a:cubicBezTo>
                    <a:pt x="1726315" y="517398"/>
                    <a:pt x="1643162" y="301657"/>
                    <a:pt x="1489524" y="178213"/>
                  </a:cubicBezTo>
                  <a:cubicBezTo>
                    <a:pt x="1376557" y="87535"/>
                    <a:pt x="1227491" y="41529"/>
                    <a:pt x="1046421" y="41529"/>
                  </a:cubicBezTo>
                  <a:cubicBezTo>
                    <a:pt x="986889" y="41529"/>
                    <a:pt x="924215" y="46577"/>
                    <a:pt x="860112" y="56674"/>
                  </a:cubicBezTo>
                  <a:cubicBezTo>
                    <a:pt x="679613" y="84868"/>
                    <a:pt x="426057" y="159067"/>
                    <a:pt x="242987" y="352234"/>
                  </a:cubicBezTo>
                  <a:cubicBezTo>
                    <a:pt x="75919" y="528542"/>
                    <a:pt x="4195" y="784193"/>
                    <a:pt x="60774" y="995172"/>
                  </a:cubicBezTo>
                  <a:lnTo>
                    <a:pt x="20864" y="1007650"/>
                  </a:lnTo>
                  <a:close/>
                </a:path>
              </a:pathLst>
            </a:custGeom>
            <a:solidFill>
              <a:srgbClr val="DBD75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FF1AE36F-6CFE-42A1-BE40-FDC04C8325A8}"/>
                </a:ext>
              </a:extLst>
            </p:cNvPr>
            <p:cNvSpPr/>
            <p:nvPr/>
          </p:nvSpPr>
          <p:spPr>
            <a:xfrm>
              <a:off x="3094835" y="4508696"/>
              <a:ext cx="1238248" cy="1514487"/>
            </a:xfrm>
            <a:custGeom>
              <a:avLst/>
              <a:gdLst>
                <a:gd name="connsiteX0" fmla="*/ 1231795 w 1238250"/>
                <a:gd name="connsiteY0" fmla="*/ 1342358 h 1514475"/>
                <a:gd name="connsiteX1" fmla="*/ 921185 w 1238250"/>
                <a:gd name="connsiteY1" fmla="*/ 498634 h 1514475"/>
                <a:gd name="connsiteX2" fmla="*/ 875369 w 1238250"/>
                <a:gd name="connsiteY2" fmla="*/ 241649 h 1514475"/>
                <a:gd name="connsiteX3" fmla="*/ 875369 w 1238250"/>
                <a:gd name="connsiteY3" fmla="*/ 80296 h 1514475"/>
                <a:gd name="connsiteX4" fmla="*/ 900706 w 1238250"/>
                <a:gd name="connsiteY4" fmla="*/ 80296 h 1514475"/>
                <a:gd name="connsiteX5" fmla="*/ 941854 w 1238250"/>
                <a:gd name="connsiteY5" fmla="*/ 39148 h 1514475"/>
                <a:gd name="connsiteX6" fmla="*/ 941854 w 1238250"/>
                <a:gd name="connsiteY6" fmla="*/ 3619 h 1514475"/>
                <a:gd name="connsiteX7" fmla="*/ 938234 w 1238250"/>
                <a:gd name="connsiteY7" fmla="*/ 0 h 1514475"/>
                <a:gd name="connsiteX8" fmla="*/ 301583 w 1238250"/>
                <a:gd name="connsiteY8" fmla="*/ 0 h 1514475"/>
                <a:gd name="connsiteX9" fmla="*/ 297964 w 1238250"/>
                <a:gd name="connsiteY9" fmla="*/ 3619 h 1514475"/>
                <a:gd name="connsiteX10" fmla="*/ 297964 w 1238250"/>
                <a:gd name="connsiteY10" fmla="*/ 39148 h 1514475"/>
                <a:gd name="connsiteX11" fmla="*/ 339112 w 1238250"/>
                <a:gd name="connsiteY11" fmla="*/ 80296 h 1514475"/>
                <a:gd name="connsiteX12" fmla="*/ 364448 w 1238250"/>
                <a:gd name="connsiteY12" fmla="*/ 80296 h 1514475"/>
                <a:gd name="connsiteX13" fmla="*/ 364448 w 1238250"/>
                <a:gd name="connsiteY13" fmla="*/ 241649 h 1514475"/>
                <a:gd name="connsiteX14" fmla="*/ 318633 w 1238250"/>
                <a:gd name="connsiteY14" fmla="*/ 498634 h 1514475"/>
                <a:gd name="connsiteX15" fmla="*/ 8023 w 1238250"/>
                <a:gd name="connsiteY15" fmla="*/ 1342358 h 1514475"/>
                <a:gd name="connsiteX16" fmla="*/ 128419 w 1238250"/>
                <a:gd name="connsiteY16" fmla="*/ 1514951 h 1514475"/>
                <a:gd name="connsiteX17" fmla="*/ 1111399 w 1238250"/>
                <a:gd name="connsiteY17" fmla="*/ 1514951 h 1514475"/>
                <a:gd name="connsiteX18" fmla="*/ 1231795 w 1238250"/>
                <a:gd name="connsiteY18" fmla="*/ 1342358 h 151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8250" h="1514475">
                  <a:moveTo>
                    <a:pt x="1231795" y="1342358"/>
                  </a:moveTo>
                  <a:lnTo>
                    <a:pt x="921185" y="498634"/>
                  </a:lnTo>
                  <a:cubicBezTo>
                    <a:pt x="890895" y="416338"/>
                    <a:pt x="875369" y="329279"/>
                    <a:pt x="875369" y="241649"/>
                  </a:cubicBezTo>
                  <a:lnTo>
                    <a:pt x="875369" y="80296"/>
                  </a:lnTo>
                  <a:lnTo>
                    <a:pt x="900706" y="80296"/>
                  </a:lnTo>
                  <a:cubicBezTo>
                    <a:pt x="923375" y="80296"/>
                    <a:pt x="941854" y="61913"/>
                    <a:pt x="941854" y="39148"/>
                  </a:cubicBezTo>
                  <a:lnTo>
                    <a:pt x="941854" y="3619"/>
                  </a:lnTo>
                  <a:cubicBezTo>
                    <a:pt x="941854" y="1619"/>
                    <a:pt x="940235" y="0"/>
                    <a:pt x="938234" y="0"/>
                  </a:cubicBezTo>
                  <a:lnTo>
                    <a:pt x="301583" y="0"/>
                  </a:lnTo>
                  <a:cubicBezTo>
                    <a:pt x="299583" y="0"/>
                    <a:pt x="297964" y="1619"/>
                    <a:pt x="297964" y="3619"/>
                  </a:cubicBezTo>
                  <a:lnTo>
                    <a:pt x="297964" y="39148"/>
                  </a:lnTo>
                  <a:cubicBezTo>
                    <a:pt x="297964" y="61817"/>
                    <a:pt x="316347" y="80296"/>
                    <a:pt x="339112" y="80296"/>
                  </a:cubicBezTo>
                  <a:lnTo>
                    <a:pt x="364448" y="80296"/>
                  </a:lnTo>
                  <a:lnTo>
                    <a:pt x="364448" y="241649"/>
                  </a:lnTo>
                  <a:cubicBezTo>
                    <a:pt x="364448" y="329374"/>
                    <a:pt x="348922" y="416338"/>
                    <a:pt x="318633" y="498634"/>
                  </a:cubicBezTo>
                  <a:lnTo>
                    <a:pt x="8023" y="1342358"/>
                  </a:lnTo>
                  <a:cubicBezTo>
                    <a:pt x="-22838" y="1426083"/>
                    <a:pt x="39169" y="1514951"/>
                    <a:pt x="128419" y="1514951"/>
                  </a:cubicBezTo>
                  <a:lnTo>
                    <a:pt x="1111399" y="1514951"/>
                  </a:lnTo>
                  <a:cubicBezTo>
                    <a:pt x="1200648" y="1515047"/>
                    <a:pt x="1262561" y="1426178"/>
                    <a:pt x="1231795" y="1342358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E3BF8F7B-0347-4399-8E16-059E84E1F849}"/>
                </a:ext>
              </a:extLst>
            </p:cNvPr>
            <p:cNvSpPr/>
            <p:nvPr/>
          </p:nvSpPr>
          <p:spPr>
            <a:xfrm>
              <a:off x="3145386" y="5318518"/>
              <a:ext cx="1133473" cy="647705"/>
            </a:xfrm>
            <a:custGeom>
              <a:avLst/>
              <a:gdLst>
                <a:gd name="connsiteX0" fmla="*/ 4906 w 1133475"/>
                <a:gd name="connsiteY0" fmla="*/ 549973 h 647700"/>
                <a:gd name="connsiteX1" fmla="*/ 14146 w 1133475"/>
                <a:gd name="connsiteY1" fmla="*/ 621411 h 647700"/>
                <a:gd name="connsiteX2" fmla="*/ 77963 w 1133475"/>
                <a:gd name="connsiteY2" fmla="*/ 654748 h 647700"/>
                <a:gd name="connsiteX3" fmla="*/ 1060848 w 1133475"/>
                <a:gd name="connsiteY3" fmla="*/ 654748 h 647700"/>
                <a:gd name="connsiteX4" fmla="*/ 1124665 w 1133475"/>
                <a:gd name="connsiteY4" fmla="*/ 621411 h 647700"/>
                <a:gd name="connsiteX5" fmla="*/ 1133904 w 1133475"/>
                <a:gd name="connsiteY5" fmla="*/ 549973 h 647700"/>
                <a:gd name="connsiteX6" fmla="*/ 931498 w 1133475"/>
                <a:gd name="connsiteY6" fmla="*/ 0 h 647700"/>
                <a:gd name="connsiteX7" fmla="*/ 207408 w 1133475"/>
                <a:gd name="connsiteY7" fmla="*/ 0 h 647700"/>
                <a:gd name="connsiteX8" fmla="*/ 4906 w 1133475"/>
                <a:gd name="connsiteY8" fmla="*/ 549973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33475" h="647700">
                  <a:moveTo>
                    <a:pt x="4906" y="549973"/>
                  </a:moveTo>
                  <a:cubicBezTo>
                    <a:pt x="-4047" y="574167"/>
                    <a:pt x="-618" y="600266"/>
                    <a:pt x="14146" y="621411"/>
                  </a:cubicBezTo>
                  <a:cubicBezTo>
                    <a:pt x="28909" y="642556"/>
                    <a:pt x="52150" y="654748"/>
                    <a:pt x="77963" y="654748"/>
                  </a:cubicBezTo>
                  <a:lnTo>
                    <a:pt x="1060848" y="654748"/>
                  </a:lnTo>
                  <a:cubicBezTo>
                    <a:pt x="1086660" y="654748"/>
                    <a:pt x="1109902" y="642556"/>
                    <a:pt x="1124665" y="621411"/>
                  </a:cubicBezTo>
                  <a:cubicBezTo>
                    <a:pt x="1139429" y="600266"/>
                    <a:pt x="1142763" y="574167"/>
                    <a:pt x="1133904" y="549973"/>
                  </a:cubicBezTo>
                  <a:lnTo>
                    <a:pt x="931498" y="0"/>
                  </a:lnTo>
                  <a:lnTo>
                    <a:pt x="207408" y="0"/>
                  </a:lnTo>
                  <a:lnTo>
                    <a:pt x="4906" y="549973"/>
                  </a:lnTo>
                  <a:close/>
                </a:path>
              </a:pathLst>
            </a:custGeom>
            <a:solidFill>
              <a:srgbClr val="DBD75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EE98640D-97B8-4DCA-B0F0-25C3EBD0BB0B}"/>
                </a:ext>
              </a:extLst>
            </p:cNvPr>
            <p:cNvSpPr/>
            <p:nvPr/>
          </p:nvSpPr>
          <p:spPr>
            <a:xfrm>
              <a:off x="5456387" y="3533040"/>
              <a:ext cx="2266946" cy="2047891"/>
            </a:xfrm>
            <a:custGeom>
              <a:avLst/>
              <a:gdLst>
                <a:gd name="connsiteX0" fmla="*/ 1850517 w 2266950"/>
                <a:gd name="connsiteY0" fmla="*/ 2049590 h 2047875"/>
                <a:gd name="connsiteX1" fmla="*/ 1767269 w 2266950"/>
                <a:gd name="connsiteY1" fmla="*/ 2049590 h 2047875"/>
                <a:gd name="connsiteX2" fmla="*/ 2004346 w 2266950"/>
                <a:gd name="connsiteY2" fmla="*/ 1875568 h 2047875"/>
                <a:gd name="connsiteX3" fmla="*/ 2183701 w 2266950"/>
                <a:gd name="connsiteY3" fmla="*/ 1780794 h 2047875"/>
                <a:gd name="connsiteX4" fmla="*/ 2004346 w 2266950"/>
                <a:gd name="connsiteY4" fmla="*/ 1686020 h 2047875"/>
                <a:gd name="connsiteX5" fmla="*/ 1767269 w 2266950"/>
                <a:gd name="connsiteY5" fmla="*/ 1511999 h 2047875"/>
                <a:gd name="connsiteX6" fmla="*/ 2004346 w 2266950"/>
                <a:gd name="connsiteY6" fmla="*/ 1337977 h 2047875"/>
                <a:gd name="connsiteX7" fmla="*/ 2183701 w 2266950"/>
                <a:gd name="connsiteY7" fmla="*/ 1243203 h 2047875"/>
                <a:gd name="connsiteX8" fmla="*/ 2004346 w 2266950"/>
                <a:gd name="connsiteY8" fmla="*/ 1148429 h 2047875"/>
                <a:gd name="connsiteX9" fmla="*/ 1767269 w 2266950"/>
                <a:gd name="connsiteY9" fmla="*/ 974312 h 2047875"/>
                <a:gd name="connsiteX10" fmla="*/ 2004346 w 2266950"/>
                <a:gd name="connsiteY10" fmla="*/ 800291 h 2047875"/>
                <a:gd name="connsiteX11" fmla="*/ 2183701 w 2266950"/>
                <a:gd name="connsiteY11" fmla="*/ 705517 h 2047875"/>
                <a:gd name="connsiteX12" fmla="*/ 2004346 w 2266950"/>
                <a:gd name="connsiteY12" fmla="*/ 610648 h 2047875"/>
                <a:gd name="connsiteX13" fmla="*/ 1767269 w 2266950"/>
                <a:gd name="connsiteY13" fmla="*/ 436531 h 2047875"/>
                <a:gd name="connsiteX14" fmla="*/ 2004346 w 2266950"/>
                <a:gd name="connsiteY14" fmla="*/ 262414 h 2047875"/>
                <a:gd name="connsiteX15" fmla="*/ 2183701 w 2266950"/>
                <a:gd name="connsiteY15" fmla="*/ 167545 h 2047875"/>
                <a:gd name="connsiteX16" fmla="*/ 2032826 w 2266950"/>
                <a:gd name="connsiteY16" fmla="*/ 83344 h 2047875"/>
                <a:gd name="connsiteX17" fmla="*/ 453104 w 2266950"/>
                <a:gd name="connsiteY17" fmla="*/ 83344 h 2047875"/>
                <a:gd name="connsiteX18" fmla="*/ 83248 w 2266950"/>
                <a:gd name="connsiteY18" fmla="*/ 453200 h 2047875"/>
                <a:gd name="connsiteX19" fmla="*/ 83248 w 2266950"/>
                <a:gd name="connsiteY19" fmla="*/ 733711 h 2047875"/>
                <a:gd name="connsiteX20" fmla="*/ 0 w 2266950"/>
                <a:gd name="connsiteY20" fmla="*/ 733711 h 2047875"/>
                <a:gd name="connsiteX21" fmla="*/ 0 w 2266950"/>
                <a:gd name="connsiteY21" fmla="*/ 453200 h 2047875"/>
                <a:gd name="connsiteX22" fmla="*/ 453199 w 2266950"/>
                <a:gd name="connsiteY22" fmla="*/ 0 h 2047875"/>
                <a:gd name="connsiteX23" fmla="*/ 2032921 w 2266950"/>
                <a:gd name="connsiteY23" fmla="*/ 0 h 2047875"/>
                <a:gd name="connsiteX24" fmla="*/ 2267045 w 2266950"/>
                <a:gd name="connsiteY24" fmla="*/ 167450 h 2047875"/>
                <a:gd name="connsiteX25" fmla="*/ 2029968 w 2266950"/>
                <a:gd name="connsiteY25" fmla="*/ 341567 h 2047875"/>
                <a:gd name="connsiteX26" fmla="*/ 1850612 w 2266950"/>
                <a:gd name="connsiteY26" fmla="*/ 436436 h 2047875"/>
                <a:gd name="connsiteX27" fmla="*/ 2029968 w 2266950"/>
                <a:gd name="connsiteY27" fmla="*/ 531305 h 2047875"/>
                <a:gd name="connsiteX28" fmla="*/ 2267045 w 2266950"/>
                <a:gd name="connsiteY28" fmla="*/ 705422 h 2047875"/>
                <a:gd name="connsiteX29" fmla="*/ 2029968 w 2266950"/>
                <a:gd name="connsiteY29" fmla="*/ 879443 h 2047875"/>
                <a:gd name="connsiteX30" fmla="*/ 1850612 w 2266950"/>
                <a:gd name="connsiteY30" fmla="*/ 974217 h 2047875"/>
                <a:gd name="connsiteX31" fmla="*/ 2029968 w 2266950"/>
                <a:gd name="connsiteY31" fmla="*/ 1069086 h 2047875"/>
                <a:gd name="connsiteX32" fmla="*/ 2267045 w 2266950"/>
                <a:gd name="connsiteY32" fmla="*/ 1243203 h 2047875"/>
                <a:gd name="connsiteX33" fmla="*/ 2029968 w 2266950"/>
                <a:gd name="connsiteY33" fmla="*/ 1417225 h 2047875"/>
                <a:gd name="connsiteX34" fmla="*/ 1850612 w 2266950"/>
                <a:gd name="connsiteY34" fmla="*/ 1511999 h 2047875"/>
                <a:gd name="connsiteX35" fmla="*/ 2029968 w 2266950"/>
                <a:gd name="connsiteY35" fmla="*/ 1606772 h 2047875"/>
                <a:gd name="connsiteX36" fmla="*/ 2267045 w 2266950"/>
                <a:gd name="connsiteY36" fmla="*/ 1780794 h 2047875"/>
                <a:gd name="connsiteX37" fmla="*/ 2029968 w 2266950"/>
                <a:gd name="connsiteY37" fmla="*/ 1954816 h 2047875"/>
                <a:gd name="connsiteX38" fmla="*/ 1850517 w 2266950"/>
                <a:gd name="connsiteY38" fmla="*/ 2049590 h 2047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266950" h="2047875">
                  <a:moveTo>
                    <a:pt x="1850517" y="2049590"/>
                  </a:moveTo>
                  <a:lnTo>
                    <a:pt x="1767269" y="2049590"/>
                  </a:lnTo>
                  <a:cubicBezTo>
                    <a:pt x="1767269" y="1952053"/>
                    <a:pt x="1887760" y="1913192"/>
                    <a:pt x="2004346" y="1875568"/>
                  </a:cubicBezTo>
                  <a:cubicBezTo>
                    <a:pt x="2080069" y="1851184"/>
                    <a:pt x="2183701" y="1817656"/>
                    <a:pt x="2183701" y="1780794"/>
                  </a:cubicBezTo>
                  <a:cubicBezTo>
                    <a:pt x="2183701" y="1743932"/>
                    <a:pt x="2080069" y="1710500"/>
                    <a:pt x="2004346" y="1686020"/>
                  </a:cubicBezTo>
                  <a:cubicBezTo>
                    <a:pt x="1887760" y="1648397"/>
                    <a:pt x="1767269" y="1609535"/>
                    <a:pt x="1767269" y="1511999"/>
                  </a:cubicBezTo>
                  <a:cubicBezTo>
                    <a:pt x="1767269" y="1414463"/>
                    <a:pt x="1887760" y="1375601"/>
                    <a:pt x="2004346" y="1337977"/>
                  </a:cubicBezTo>
                  <a:cubicBezTo>
                    <a:pt x="2080069" y="1313593"/>
                    <a:pt x="2183701" y="1280065"/>
                    <a:pt x="2183701" y="1243203"/>
                  </a:cubicBezTo>
                  <a:cubicBezTo>
                    <a:pt x="2183701" y="1206341"/>
                    <a:pt x="2080069" y="1172813"/>
                    <a:pt x="2004346" y="1148429"/>
                  </a:cubicBezTo>
                  <a:cubicBezTo>
                    <a:pt x="1887760" y="1110806"/>
                    <a:pt x="1767269" y="1071848"/>
                    <a:pt x="1767269" y="974312"/>
                  </a:cubicBezTo>
                  <a:cubicBezTo>
                    <a:pt x="1767269" y="876776"/>
                    <a:pt x="1887760" y="837914"/>
                    <a:pt x="2004346" y="800291"/>
                  </a:cubicBezTo>
                  <a:cubicBezTo>
                    <a:pt x="2080069" y="775907"/>
                    <a:pt x="2183701" y="742379"/>
                    <a:pt x="2183701" y="705517"/>
                  </a:cubicBezTo>
                  <a:cubicBezTo>
                    <a:pt x="2183701" y="668560"/>
                    <a:pt x="2080069" y="635127"/>
                    <a:pt x="2004346" y="610648"/>
                  </a:cubicBezTo>
                  <a:cubicBezTo>
                    <a:pt x="1887855" y="573024"/>
                    <a:pt x="1767269" y="534067"/>
                    <a:pt x="1767269" y="436531"/>
                  </a:cubicBezTo>
                  <a:cubicBezTo>
                    <a:pt x="1767269" y="338995"/>
                    <a:pt x="1887760" y="300038"/>
                    <a:pt x="2004346" y="262414"/>
                  </a:cubicBezTo>
                  <a:cubicBezTo>
                    <a:pt x="2080069" y="237934"/>
                    <a:pt x="2183701" y="204502"/>
                    <a:pt x="2183701" y="167545"/>
                  </a:cubicBezTo>
                  <a:cubicBezTo>
                    <a:pt x="2183701" y="89440"/>
                    <a:pt x="2068258" y="83344"/>
                    <a:pt x="2032826" y="83344"/>
                  </a:cubicBezTo>
                  <a:lnTo>
                    <a:pt x="453104" y="83344"/>
                  </a:lnTo>
                  <a:cubicBezTo>
                    <a:pt x="249174" y="83344"/>
                    <a:pt x="83248" y="249269"/>
                    <a:pt x="83248" y="453200"/>
                  </a:cubicBezTo>
                  <a:lnTo>
                    <a:pt x="83248" y="733711"/>
                  </a:lnTo>
                  <a:lnTo>
                    <a:pt x="0" y="733711"/>
                  </a:lnTo>
                  <a:lnTo>
                    <a:pt x="0" y="453200"/>
                  </a:lnTo>
                  <a:cubicBezTo>
                    <a:pt x="0" y="203359"/>
                    <a:pt x="203263" y="0"/>
                    <a:pt x="453199" y="0"/>
                  </a:cubicBezTo>
                  <a:lnTo>
                    <a:pt x="2032921" y="0"/>
                  </a:lnTo>
                  <a:cubicBezTo>
                    <a:pt x="2177320" y="0"/>
                    <a:pt x="2267045" y="64199"/>
                    <a:pt x="2267045" y="167450"/>
                  </a:cubicBezTo>
                  <a:cubicBezTo>
                    <a:pt x="2267045" y="264986"/>
                    <a:pt x="2146554" y="303943"/>
                    <a:pt x="2029968" y="341567"/>
                  </a:cubicBezTo>
                  <a:cubicBezTo>
                    <a:pt x="1954244" y="366046"/>
                    <a:pt x="1850612" y="399479"/>
                    <a:pt x="1850612" y="436436"/>
                  </a:cubicBezTo>
                  <a:cubicBezTo>
                    <a:pt x="1850612" y="473392"/>
                    <a:pt x="1954244" y="506825"/>
                    <a:pt x="2029968" y="531305"/>
                  </a:cubicBezTo>
                  <a:cubicBezTo>
                    <a:pt x="2146554" y="568928"/>
                    <a:pt x="2267045" y="607886"/>
                    <a:pt x="2267045" y="705422"/>
                  </a:cubicBezTo>
                  <a:cubicBezTo>
                    <a:pt x="2267045" y="802958"/>
                    <a:pt x="2146554" y="841820"/>
                    <a:pt x="2029968" y="879443"/>
                  </a:cubicBezTo>
                  <a:cubicBezTo>
                    <a:pt x="1954244" y="903827"/>
                    <a:pt x="1850612" y="937355"/>
                    <a:pt x="1850612" y="974217"/>
                  </a:cubicBezTo>
                  <a:cubicBezTo>
                    <a:pt x="1850612" y="1011174"/>
                    <a:pt x="1954244" y="1044607"/>
                    <a:pt x="2029968" y="1069086"/>
                  </a:cubicBezTo>
                  <a:cubicBezTo>
                    <a:pt x="2146459" y="1106710"/>
                    <a:pt x="2267045" y="1145667"/>
                    <a:pt x="2267045" y="1243203"/>
                  </a:cubicBezTo>
                  <a:cubicBezTo>
                    <a:pt x="2267045" y="1340739"/>
                    <a:pt x="2146554" y="1379601"/>
                    <a:pt x="2029968" y="1417225"/>
                  </a:cubicBezTo>
                  <a:cubicBezTo>
                    <a:pt x="1954244" y="1441609"/>
                    <a:pt x="1850612" y="1475137"/>
                    <a:pt x="1850612" y="1511999"/>
                  </a:cubicBezTo>
                  <a:cubicBezTo>
                    <a:pt x="1850612" y="1548860"/>
                    <a:pt x="1954244" y="1582293"/>
                    <a:pt x="2029968" y="1606772"/>
                  </a:cubicBezTo>
                  <a:cubicBezTo>
                    <a:pt x="2146554" y="1644396"/>
                    <a:pt x="2267045" y="1683258"/>
                    <a:pt x="2267045" y="1780794"/>
                  </a:cubicBezTo>
                  <a:cubicBezTo>
                    <a:pt x="2267045" y="1878330"/>
                    <a:pt x="2146554" y="1917192"/>
                    <a:pt x="2029968" y="1954816"/>
                  </a:cubicBezTo>
                  <a:cubicBezTo>
                    <a:pt x="1954149" y="1979295"/>
                    <a:pt x="1850517" y="2012728"/>
                    <a:pt x="1850517" y="204959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4A444DC6-613E-40B7-BE87-C03D237A095E}"/>
                </a:ext>
              </a:extLst>
            </p:cNvPr>
            <p:cNvSpPr/>
            <p:nvPr/>
          </p:nvSpPr>
          <p:spPr>
            <a:xfrm>
              <a:off x="5487533" y="3564284"/>
              <a:ext cx="2200272" cy="1981217"/>
            </a:xfrm>
            <a:custGeom>
              <a:avLst/>
              <a:gdLst>
                <a:gd name="connsiteX0" fmla="*/ 1774317 w 2200275"/>
                <a:gd name="connsiteY0" fmla="*/ 1987106 h 1981200"/>
                <a:gd name="connsiteX1" fmla="*/ 1982724 w 2200275"/>
                <a:gd name="connsiteY1" fmla="*/ 1874044 h 1981200"/>
                <a:gd name="connsiteX2" fmla="*/ 2183702 w 2200275"/>
                <a:gd name="connsiteY2" fmla="*/ 1749552 h 1981200"/>
                <a:gd name="connsiteX3" fmla="*/ 1982724 w 2200275"/>
                <a:gd name="connsiteY3" fmla="*/ 1625060 h 1981200"/>
                <a:gd name="connsiteX4" fmla="*/ 1767364 w 2200275"/>
                <a:gd name="connsiteY4" fmla="*/ 1480757 h 1981200"/>
                <a:gd name="connsiteX5" fmla="*/ 1982819 w 2200275"/>
                <a:gd name="connsiteY5" fmla="*/ 1336453 h 1981200"/>
                <a:gd name="connsiteX6" fmla="*/ 2183797 w 2200275"/>
                <a:gd name="connsiteY6" fmla="*/ 1211961 h 1981200"/>
                <a:gd name="connsiteX7" fmla="*/ 1982819 w 2200275"/>
                <a:gd name="connsiteY7" fmla="*/ 1087469 h 1981200"/>
                <a:gd name="connsiteX8" fmla="*/ 1767364 w 2200275"/>
                <a:gd name="connsiteY8" fmla="*/ 943070 h 1981200"/>
                <a:gd name="connsiteX9" fmla="*/ 1982819 w 2200275"/>
                <a:gd name="connsiteY9" fmla="*/ 798767 h 1981200"/>
                <a:gd name="connsiteX10" fmla="*/ 2183797 w 2200275"/>
                <a:gd name="connsiteY10" fmla="*/ 674275 h 1981200"/>
                <a:gd name="connsiteX11" fmla="*/ 1982819 w 2200275"/>
                <a:gd name="connsiteY11" fmla="*/ 549688 h 1981200"/>
                <a:gd name="connsiteX12" fmla="*/ 1767364 w 2200275"/>
                <a:gd name="connsiteY12" fmla="*/ 405289 h 1981200"/>
                <a:gd name="connsiteX13" fmla="*/ 1982724 w 2200275"/>
                <a:gd name="connsiteY13" fmla="*/ 260890 h 1981200"/>
                <a:gd name="connsiteX14" fmla="*/ 2183797 w 2200275"/>
                <a:gd name="connsiteY14" fmla="*/ 136303 h 1981200"/>
                <a:gd name="connsiteX15" fmla="*/ 2001679 w 2200275"/>
                <a:gd name="connsiteY15" fmla="*/ 20860 h 1981200"/>
                <a:gd name="connsiteX16" fmla="*/ 421957 w 2200275"/>
                <a:gd name="connsiteY16" fmla="*/ 20860 h 1981200"/>
                <a:gd name="connsiteX17" fmla="*/ 20860 w 2200275"/>
                <a:gd name="connsiteY17" fmla="*/ 421958 h 1981200"/>
                <a:gd name="connsiteX18" fmla="*/ 20860 w 2200275"/>
                <a:gd name="connsiteY18" fmla="*/ 671227 h 1981200"/>
                <a:gd name="connsiteX19" fmla="*/ 0 w 2200275"/>
                <a:gd name="connsiteY19" fmla="*/ 671227 h 1981200"/>
                <a:gd name="connsiteX20" fmla="*/ 0 w 2200275"/>
                <a:gd name="connsiteY20" fmla="*/ 421958 h 1981200"/>
                <a:gd name="connsiteX21" fmla="*/ 421957 w 2200275"/>
                <a:gd name="connsiteY21" fmla="*/ 0 h 1981200"/>
                <a:gd name="connsiteX22" fmla="*/ 2001679 w 2200275"/>
                <a:gd name="connsiteY22" fmla="*/ 0 h 1981200"/>
                <a:gd name="connsiteX23" fmla="*/ 2204561 w 2200275"/>
                <a:gd name="connsiteY23" fmla="*/ 136208 h 1981200"/>
                <a:gd name="connsiteX24" fmla="*/ 1989201 w 2200275"/>
                <a:gd name="connsiteY24" fmla="*/ 280607 h 1981200"/>
                <a:gd name="connsiteX25" fmla="*/ 1788128 w 2200275"/>
                <a:gd name="connsiteY25" fmla="*/ 405194 h 1981200"/>
                <a:gd name="connsiteX26" fmla="*/ 1989106 w 2200275"/>
                <a:gd name="connsiteY26" fmla="*/ 529781 h 1981200"/>
                <a:gd name="connsiteX27" fmla="*/ 2204561 w 2200275"/>
                <a:gd name="connsiteY27" fmla="*/ 674180 h 1981200"/>
                <a:gd name="connsiteX28" fmla="*/ 1989106 w 2200275"/>
                <a:gd name="connsiteY28" fmla="*/ 818483 h 1981200"/>
                <a:gd name="connsiteX29" fmla="*/ 1788128 w 2200275"/>
                <a:gd name="connsiteY29" fmla="*/ 942975 h 1981200"/>
                <a:gd name="connsiteX30" fmla="*/ 1989106 w 2200275"/>
                <a:gd name="connsiteY30" fmla="*/ 1067467 h 1981200"/>
                <a:gd name="connsiteX31" fmla="*/ 2204561 w 2200275"/>
                <a:gd name="connsiteY31" fmla="*/ 1211866 h 1981200"/>
                <a:gd name="connsiteX32" fmla="*/ 1989106 w 2200275"/>
                <a:gd name="connsiteY32" fmla="*/ 1356169 h 1981200"/>
                <a:gd name="connsiteX33" fmla="*/ 1788128 w 2200275"/>
                <a:gd name="connsiteY33" fmla="*/ 1480661 h 1981200"/>
                <a:gd name="connsiteX34" fmla="*/ 1989106 w 2200275"/>
                <a:gd name="connsiteY34" fmla="*/ 1605153 h 1981200"/>
                <a:gd name="connsiteX35" fmla="*/ 2204466 w 2200275"/>
                <a:gd name="connsiteY35" fmla="*/ 1749457 h 1981200"/>
                <a:gd name="connsiteX36" fmla="*/ 1989011 w 2200275"/>
                <a:gd name="connsiteY36" fmla="*/ 1893760 h 1981200"/>
                <a:gd name="connsiteX37" fmla="*/ 1797939 w 2200275"/>
                <a:gd name="connsiteY37" fmla="*/ 1987010 h 1981200"/>
                <a:gd name="connsiteX38" fmla="*/ 1774317 w 2200275"/>
                <a:gd name="connsiteY38" fmla="*/ 1987010 h 1981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200275" h="1981200">
                  <a:moveTo>
                    <a:pt x="1774317" y="1987106"/>
                  </a:moveTo>
                  <a:cubicBezTo>
                    <a:pt x="1799940" y="1933004"/>
                    <a:pt x="1892808" y="1903095"/>
                    <a:pt x="1982724" y="1874044"/>
                  </a:cubicBezTo>
                  <a:cubicBezTo>
                    <a:pt x="2104168" y="1834896"/>
                    <a:pt x="2183702" y="1804988"/>
                    <a:pt x="2183702" y="1749552"/>
                  </a:cubicBezTo>
                  <a:cubicBezTo>
                    <a:pt x="2183702" y="1694117"/>
                    <a:pt x="2104073" y="1664303"/>
                    <a:pt x="1982724" y="1625060"/>
                  </a:cubicBezTo>
                  <a:cubicBezTo>
                    <a:pt x="1876806" y="1590866"/>
                    <a:pt x="1767364" y="1555528"/>
                    <a:pt x="1767364" y="1480757"/>
                  </a:cubicBezTo>
                  <a:cubicBezTo>
                    <a:pt x="1767364" y="1405985"/>
                    <a:pt x="1876901" y="1370648"/>
                    <a:pt x="1982819" y="1336453"/>
                  </a:cubicBezTo>
                  <a:cubicBezTo>
                    <a:pt x="2104263" y="1297305"/>
                    <a:pt x="2183797" y="1267397"/>
                    <a:pt x="2183797" y="1211961"/>
                  </a:cubicBezTo>
                  <a:cubicBezTo>
                    <a:pt x="2183797" y="1156430"/>
                    <a:pt x="2104168" y="1126617"/>
                    <a:pt x="1982819" y="1087469"/>
                  </a:cubicBezTo>
                  <a:cubicBezTo>
                    <a:pt x="1876901" y="1053275"/>
                    <a:pt x="1767364" y="1017937"/>
                    <a:pt x="1767364" y="943070"/>
                  </a:cubicBezTo>
                  <a:cubicBezTo>
                    <a:pt x="1767364" y="868299"/>
                    <a:pt x="1876901" y="832961"/>
                    <a:pt x="1982819" y="798767"/>
                  </a:cubicBezTo>
                  <a:cubicBezTo>
                    <a:pt x="2104263" y="759619"/>
                    <a:pt x="2183797" y="729710"/>
                    <a:pt x="2183797" y="674275"/>
                  </a:cubicBezTo>
                  <a:cubicBezTo>
                    <a:pt x="2183797" y="618744"/>
                    <a:pt x="2104263" y="588931"/>
                    <a:pt x="1982819" y="549688"/>
                  </a:cubicBezTo>
                  <a:cubicBezTo>
                    <a:pt x="1876901" y="515493"/>
                    <a:pt x="1767364" y="480060"/>
                    <a:pt x="1767364" y="405289"/>
                  </a:cubicBezTo>
                  <a:cubicBezTo>
                    <a:pt x="1767364" y="330422"/>
                    <a:pt x="1876901" y="295084"/>
                    <a:pt x="1982724" y="260890"/>
                  </a:cubicBezTo>
                  <a:cubicBezTo>
                    <a:pt x="2104168" y="221647"/>
                    <a:pt x="2183797" y="191834"/>
                    <a:pt x="2183797" y="136303"/>
                  </a:cubicBezTo>
                  <a:cubicBezTo>
                    <a:pt x="2183797" y="64008"/>
                    <a:pt x="2115693" y="20860"/>
                    <a:pt x="2001679" y="20860"/>
                  </a:cubicBezTo>
                  <a:lnTo>
                    <a:pt x="421957" y="20860"/>
                  </a:lnTo>
                  <a:cubicBezTo>
                    <a:pt x="200787" y="20860"/>
                    <a:pt x="20860" y="200787"/>
                    <a:pt x="20860" y="421958"/>
                  </a:cubicBezTo>
                  <a:lnTo>
                    <a:pt x="20860" y="671227"/>
                  </a:lnTo>
                  <a:lnTo>
                    <a:pt x="0" y="671227"/>
                  </a:lnTo>
                  <a:lnTo>
                    <a:pt x="0" y="421958"/>
                  </a:lnTo>
                  <a:cubicBezTo>
                    <a:pt x="0" y="189262"/>
                    <a:pt x="189262" y="0"/>
                    <a:pt x="421957" y="0"/>
                  </a:cubicBezTo>
                  <a:lnTo>
                    <a:pt x="2001679" y="0"/>
                  </a:lnTo>
                  <a:cubicBezTo>
                    <a:pt x="2126837" y="0"/>
                    <a:pt x="2204561" y="52197"/>
                    <a:pt x="2204561" y="136208"/>
                  </a:cubicBezTo>
                  <a:cubicBezTo>
                    <a:pt x="2204561" y="210979"/>
                    <a:pt x="2095119" y="246412"/>
                    <a:pt x="1989201" y="280607"/>
                  </a:cubicBezTo>
                  <a:cubicBezTo>
                    <a:pt x="1867758" y="319850"/>
                    <a:pt x="1788128" y="349758"/>
                    <a:pt x="1788128" y="405194"/>
                  </a:cubicBezTo>
                  <a:cubicBezTo>
                    <a:pt x="1788128" y="460629"/>
                    <a:pt x="1867758" y="490538"/>
                    <a:pt x="1989106" y="529781"/>
                  </a:cubicBezTo>
                  <a:cubicBezTo>
                    <a:pt x="2095024" y="563975"/>
                    <a:pt x="2204561" y="599408"/>
                    <a:pt x="2204561" y="674180"/>
                  </a:cubicBezTo>
                  <a:cubicBezTo>
                    <a:pt x="2204561" y="748951"/>
                    <a:pt x="2095024" y="784288"/>
                    <a:pt x="1989106" y="818483"/>
                  </a:cubicBezTo>
                  <a:cubicBezTo>
                    <a:pt x="1867662" y="857631"/>
                    <a:pt x="1788128" y="887540"/>
                    <a:pt x="1788128" y="942975"/>
                  </a:cubicBezTo>
                  <a:cubicBezTo>
                    <a:pt x="1788128" y="998506"/>
                    <a:pt x="1867758" y="1028319"/>
                    <a:pt x="1989106" y="1067467"/>
                  </a:cubicBezTo>
                  <a:cubicBezTo>
                    <a:pt x="2095024" y="1101661"/>
                    <a:pt x="2204561" y="1136999"/>
                    <a:pt x="2204561" y="1211866"/>
                  </a:cubicBezTo>
                  <a:cubicBezTo>
                    <a:pt x="2204561" y="1286637"/>
                    <a:pt x="2095024" y="1321975"/>
                    <a:pt x="1989106" y="1356169"/>
                  </a:cubicBezTo>
                  <a:cubicBezTo>
                    <a:pt x="1867662" y="1395317"/>
                    <a:pt x="1788128" y="1425226"/>
                    <a:pt x="1788128" y="1480661"/>
                  </a:cubicBezTo>
                  <a:cubicBezTo>
                    <a:pt x="1788128" y="1536097"/>
                    <a:pt x="1867758" y="1566005"/>
                    <a:pt x="1989106" y="1605153"/>
                  </a:cubicBezTo>
                  <a:cubicBezTo>
                    <a:pt x="2095024" y="1639348"/>
                    <a:pt x="2204466" y="1674685"/>
                    <a:pt x="2204466" y="1749457"/>
                  </a:cubicBezTo>
                  <a:cubicBezTo>
                    <a:pt x="2204466" y="1824228"/>
                    <a:pt x="2094929" y="1859566"/>
                    <a:pt x="1989011" y="1893760"/>
                  </a:cubicBezTo>
                  <a:cubicBezTo>
                    <a:pt x="1893570" y="1924526"/>
                    <a:pt x="1823181" y="1949672"/>
                    <a:pt x="1797939" y="1987010"/>
                  </a:cubicBezTo>
                  <a:lnTo>
                    <a:pt x="1774317" y="1987010"/>
                  </a:lnTo>
                  <a:close/>
                </a:path>
              </a:pathLst>
            </a:custGeom>
            <a:solidFill>
              <a:srgbClr val="08B68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35367399-0113-4D2B-BE9B-7771C544ABDE}"/>
                </a:ext>
              </a:extLst>
            </p:cNvPr>
            <p:cNvSpPr/>
            <p:nvPr/>
          </p:nvSpPr>
          <p:spPr>
            <a:xfrm>
              <a:off x="4954839" y="4213228"/>
              <a:ext cx="904873" cy="838207"/>
            </a:xfrm>
            <a:custGeom>
              <a:avLst/>
              <a:gdLst>
                <a:gd name="connsiteX0" fmla="*/ 845305 w 904875"/>
                <a:gd name="connsiteY0" fmla="*/ 842772 h 838200"/>
                <a:gd name="connsiteX1" fmla="*/ 135407 w 904875"/>
                <a:gd name="connsiteY1" fmla="*/ 842772 h 838200"/>
                <a:gd name="connsiteX2" fmla="*/ 69018 w 904875"/>
                <a:gd name="connsiteY2" fmla="*/ 776383 h 838200"/>
                <a:gd name="connsiteX3" fmla="*/ 69018 w 904875"/>
                <a:gd name="connsiteY3" fmla="*/ 129064 h 838200"/>
                <a:gd name="connsiteX4" fmla="*/ 1581 w 904875"/>
                <a:gd name="connsiteY4" fmla="*/ 16669 h 838200"/>
                <a:gd name="connsiteX5" fmla="*/ 11011 w 904875"/>
                <a:gd name="connsiteY5" fmla="*/ 0 h 838200"/>
                <a:gd name="connsiteX6" fmla="*/ 911694 w 904875"/>
                <a:gd name="connsiteY6" fmla="*/ 0 h 838200"/>
                <a:gd name="connsiteX7" fmla="*/ 911694 w 904875"/>
                <a:gd name="connsiteY7" fmla="*/ 776287 h 838200"/>
                <a:gd name="connsiteX8" fmla="*/ 845305 w 904875"/>
                <a:gd name="connsiteY8" fmla="*/ 842772 h 838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04875" h="838200">
                  <a:moveTo>
                    <a:pt x="845305" y="842772"/>
                  </a:moveTo>
                  <a:lnTo>
                    <a:pt x="135407" y="842772"/>
                  </a:lnTo>
                  <a:cubicBezTo>
                    <a:pt x="98736" y="842772"/>
                    <a:pt x="69018" y="813054"/>
                    <a:pt x="69018" y="776383"/>
                  </a:cubicBezTo>
                  <a:lnTo>
                    <a:pt x="69018" y="129064"/>
                  </a:lnTo>
                  <a:lnTo>
                    <a:pt x="1581" y="16669"/>
                  </a:lnTo>
                  <a:cubicBezTo>
                    <a:pt x="-2801" y="9334"/>
                    <a:pt x="2438" y="0"/>
                    <a:pt x="11011" y="0"/>
                  </a:cubicBezTo>
                  <a:lnTo>
                    <a:pt x="911694" y="0"/>
                  </a:lnTo>
                  <a:lnTo>
                    <a:pt x="911694" y="776287"/>
                  </a:lnTo>
                  <a:cubicBezTo>
                    <a:pt x="911600" y="813054"/>
                    <a:pt x="881977" y="842772"/>
                    <a:pt x="845305" y="842772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73C866BC-5F98-43E0-BEBA-BD1F82FC361B}"/>
                </a:ext>
              </a:extLst>
            </p:cNvPr>
            <p:cNvSpPr/>
            <p:nvPr/>
          </p:nvSpPr>
          <p:spPr>
            <a:xfrm>
              <a:off x="5044622" y="4621758"/>
              <a:ext cx="800099" cy="409579"/>
            </a:xfrm>
            <a:custGeom>
              <a:avLst/>
              <a:gdLst>
                <a:gd name="connsiteX0" fmla="*/ 0 w 800100"/>
                <a:gd name="connsiteY0" fmla="*/ 17907 h 409575"/>
                <a:gd name="connsiteX1" fmla="*/ 0 w 800100"/>
                <a:gd name="connsiteY1" fmla="*/ 367855 h 409575"/>
                <a:gd name="connsiteX2" fmla="*/ 45529 w 800100"/>
                <a:gd name="connsiteY2" fmla="*/ 413385 h 409575"/>
                <a:gd name="connsiteX3" fmla="*/ 755523 w 800100"/>
                <a:gd name="connsiteY3" fmla="*/ 413385 h 409575"/>
                <a:gd name="connsiteX4" fmla="*/ 801053 w 800100"/>
                <a:gd name="connsiteY4" fmla="*/ 367855 h 409575"/>
                <a:gd name="connsiteX5" fmla="*/ 801053 w 800100"/>
                <a:gd name="connsiteY5" fmla="*/ 0 h 409575"/>
                <a:gd name="connsiteX6" fmla="*/ 0 w 800100"/>
                <a:gd name="connsiteY6" fmla="*/ 17907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00100" h="409575">
                  <a:moveTo>
                    <a:pt x="0" y="17907"/>
                  </a:moveTo>
                  <a:lnTo>
                    <a:pt x="0" y="367855"/>
                  </a:lnTo>
                  <a:cubicBezTo>
                    <a:pt x="0" y="393002"/>
                    <a:pt x="20384" y="413385"/>
                    <a:pt x="45529" y="413385"/>
                  </a:cubicBezTo>
                  <a:lnTo>
                    <a:pt x="755523" y="413385"/>
                  </a:lnTo>
                  <a:cubicBezTo>
                    <a:pt x="780669" y="413385"/>
                    <a:pt x="801053" y="393002"/>
                    <a:pt x="801053" y="367855"/>
                  </a:cubicBezTo>
                  <a:lnTo>
                    <a:pt x="801053" y="0"/>
                  </a:lnTo>
                  <a:cubicBezTo>
                    <a:pt x="552069" y="83248"/>
                    <a:pt x="263843" y="-25908"/>
                    <a:pt x="0" y="17907"/>
                  </a:cubicBezTo>
                  <a:close/>
                </a:path>
              </a:pathLst>
            </a:custGeom>
            <a:solidFill>
              <a:srgbClr val="1DA9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E3F32314-3693-4890-BF02-AD0FB1F40C24}"/>
                </a:ext>
              </a:extLst>
            </p:cNvPr>
            <p:cNvSpPr/>
            <p:nvPr/>
          </p:nvSpPr>
          <p:spPr>
            <a:xfrm>
              <a:off x="7235939" y="5314231"/>
              <a:ext cx="723899" cy="657231"/>
            </a:xfrm>
            <a:custGeom>
              <a:avLst/>
              <a:gdLst>
                <a:gd name="connsiteX0" fmla="*/ 47625 w 723900"/>
                <a:gd name="connsiteY0" fmla="*/ 663226 h 657225"/>
                <a:gd name="connsiteX1" fmla="*/ 676084 w 723900"/>
                <a:gd name="connsiteY1" fmla="*/ 663226 h 657225"/>
                <a:gd name="connsiteX2" fmla="*/ 723615 w 723900"/>
                <a:gd name="connsiteY2" fmla="*/ 615696 h 657225"/>
                <a:gd name="connsiteX3" fmla="*/ 723615 w 723900"/>
                <a:gd name="connsiteY3" fmla="*/ 110776 h 657225"/>
                <a:gd name="connsiteX4" fmla="*/ 724948 w 723900"/>
                <a:gd name="connsiteY4" fmla="*/ 16859 h 657225"/>
                <a:gd name="connsiteX5" fmla="*/ 708279 w 723900"/>
                <a:gd name="connsiteY5" fmla="*/ 0 h 657225"/>
                <a:gd name="connsiteX6" fmla="*/ 16669 w 723900"/>
                <a:gd name="connsiteY6" fmla="*/ 0 h 657225"/>
                <a:gd name="connsiteX7" fmla="*/ 0 w 723900"/>
                <a:gd name="connsiteY7" fmla="*/ 16669 h 657225"/>
                <a:gd name="connsiteX8" fmla="*/ 0 w 723900"/>
                <a:gd name="connsiteY8" fmla="*/ 615696 h 657225"/>
                <a:gd name="connsiteX9" fmla="*/ 47625 w 723900"/>
                <a:gd name="connsiteY9" fmla="*/ 663226 h 657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3900" h="657225">
                  <a:moveTo>
                    <a:pt x="47625" y="663226"/>
                  </a:moveTo>
                  <a:lnTo>
                    <a:pt x="676084" y="663226"/>
                  </a:lnTo>
                  <a:cubicBezTo>
                    <a:pt x="702373" y="663226"/>
                    <a:pt x="723615" y="641985"/>
                    <a:pt x="723615" y="615696"/>
                  </a:cubicBezTo>
                  <a:lnTo>
                    <a:pt x="723615" y="110776"/>
                  </a:lnTo>
                  <a:lnTo>
                    <a:pt x="724948" y="16859"/>
                  </a:lnTo>
                  <a:cubicBezTo>
                    <a:pt x="725043" y="7620"/>
                    <a:pt x="717614" y="0"/>
                    <a:pt x="708279" y="0"/>
                  </a:cubicBezTo>
                  <a:lnTo>
                    <a:pt x="16669" y="0"/>
                  </a:lnTo>
                  <a:cubicBezTo>
                    <a:pt x="7430" y="0"/>
                    <a:pt x="0" y="7429"/>
                    <a:pt x="0" y="16669"/>
                  </a:cubicBezTo>
                  <a:lnTo>
                    <a:pt x="0" y="615696"/>
                  </a:lnTo>
                  <a:cubicBezTo>
                    <a:pt x="95" y="641890"/>
                    <a:pt x="21336" y="663226"/>
                    <a:pt x="47625" y="663226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4EDE9DE9-5DBF-4F30-A07E-2467A97EAEA1}"/>
                </a:ext>
              </a:extLst>
            </p:cNvPr>
            <p:cNvSpPr/>
            <p:nvPr/>
          </p:nvSpPr>
          <p:spPr>
            <a:xfrm>
              <a:off x="7263372" y="5604555"/>
              <a:ext cx="666749" cy="342902"/>
            </a:xfrm>
            <a:custGeom>
              <a:avLst/>
              <a:gdLst>
                <a:gd name="connsiteX0" fmla="*/ 668846 w 666750"/>
                <a:gd name="connsiteY0" fmla="*/ 14954 h 342900"/>
                <a:gd name="connsiteX1" fmla="*/ 668846 w 666750"/>
                <a:gd name="connsiteY1" fmla="*/ 316325 h 342900"/>
                <a:gd name="connsiteX2" fmla="*/ 639985 w 666750"/>
                <a:gd name="connsiteY2" fmla="*/ 345186 h 342900"/>
                <a:gd name="connsiteX3" fmla="*/ 28861 w 666750"/>
                <a:gd name="connsiteY3" fmla="*/ 345186 h 342900"/>
                <a:gd name="connsiteX4" fmla="*/ 0 w 666750"/>
                <a:gd name="connsiteY4" fmla="*/ 316325 h 342900"/>
                <a:gd name="connsiteX5" fmla="*/ 0 w 666750"/>
                <a:gd name="connsiteY5" fmla="*/ 0 h 342900"/>
                <a:gd name="connsiteX6" fmla="*/ 668846 w 666750"/>
                <a:gd name="connsiteY6" fmla="*/ 14954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6750" h="342900">
                  <a:moveTo>
                    <a:pt x="668846" y="14954"/>
                  </a:moveTo>
                  <a:lnTo>
                    <a:pt x="668846" y="316325"/>
                  </a:lnTo>
                  <a:cubicBezTo>
                    <a:pt x="668846" y="332232"/>
                    <a:pt x="655891" y="345186"/>
                    <a:pt x="639985" y="345186"/>
                  </a:cubicBezTo>
                  <a:lnTo>
                    <a:pt x="28861" y="345186"/>
                  </a:lnTo>
                  <a:cubicBezTo>
                    <a:pt x="12954" y="345186"/>
                    <a:pt x="0" y="332232"/>
                    <a:pt x="0" y="316325"/>
                  </a:cubicBezTo>
                  <a:lnTo>
                    <a:pt x="0" y="0"/>
                  </a:lnTo>
                  <a:cubicBezTo>
                    <a:pt x="207931" y="69437"/>
                    <a:pt x="448533" y="-21622"/>
                    <a:pt x="668846" y="14954"/>
                  </a:cubicBezTo>
                  <a:close/>
                </a:path>
              </a:pathLst>
            </a:custGeom>
            <a:solidFill>
              <a:srgbClr val="08B68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12B15F0E-115A-45AC-AF24-3D120089716F}"/>
                </a:ext>
              </a:extLst>
            </p:cNvPr>
            <p:cNvSpPr/>
            <p:nvPr/>
          </p:nvSpPr>
          <p:spPr>
            <a:xfrm>
              <a:off x="5165780" y="5912310"/>
              <a:ext cx="1142998" cy="66675"/>
            </a:xfrm>
            <a:custGeom>
              <a:avLst/>
              <a:gdLst>
                <a:gd name="connsiteX0" fmla="*/ 149162 w 1143000"/>
                <a:gd name="connsiteY0" fmla="*/ 0 h 66675"/>
                <a:gd name="connsiteX1" fmla="*/ 1114044 w 1143000"/>
                <a:gd name="connsiteY1" fmla="*/ 0 h 66675"/>
                <a:gd name="connsiteX2" fmla="*/ 1148429 w 1143000"/>
                <a:gd name="connsiteY2" fmla="*/ 34385 h 66675"/>
                <a:gd name="connsiteX3" fmla="*/ 1148429 w 1143000"/>
                <a:gd name="connsiteY3" fmla="*/ 73628 h 66675"/>
                <a:gd name="connsiteX4" fmla="*/ 0 w 1143000"/>
                <a:gd name="connsiteY4" fmla="*/ 73628 h 66675"/>
                <a:gd name="connsiteX5" fmla="*/ 2477 w 1143000"/>
                <a:gd name="connsiteY5" fmla="*/ 70580 h 66675"/>
                <a:gd name="connsiteX6" fmla="*/ 149162 w 1143000"/>
                <a:gd name="connsiteY6" fmla="*/ 0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3000" h="66675">
                  <a:moveTo>
                    <a:pt x="149162" y="0"/>
                  </a:moveTo>
                  <a:lnTo>
                    <a:pt x="1114044" y="0"/>
                  </a:lnTo>
                  <a:cubicBezTo>
                    <a:pt x="1132999" y="0"/>
                    <a:pt x="1148429" y="15335"/>
                    <a:pt x="1148429" y="34385"/>
                  </a:cubicBezTo>
                  <a:lnTo>
                    <a:pt x="1148429" y="73628"/>
                  </a:lnTo>
                  <a:lnTo>
                    <a:pt x="0" y="73628"/>
                  </a:lnTo>
                  <a:lnTo>
                    <a:pt x="2477" y="70580"/>
                  </a:lnTo>
                  <a:cubicBezTo>
                    <a:pt x="38100" y="26003"/>
                    <a:pt x="92107" y="0"/>
                    <a:pt x="149162" y="0"/>
                  </a:cubicBezTo>
                  <a:close/>
                </a:path>
              </a:pathLst>
            </a:custGeom>
            <a:solidFill>
              <a:srgbClr val="FFDB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FCFDA4A4-BF6F-4D4B-BF0B-3514B2E89AC4}"/>
                </a:ext>
              </a:extLst>
            </p:cNvPr>
            <p:cNvSpPr/>
            <p:nvPr/>
          </p:nvSpPr>
          <p:spPr>
            <a:xfrm>
              <a:off x="5957020" y="4437733"/>
              <a:ext cx="342899" cy="342902"/>
            </a:xfrm>
            <a:custGeom>
              <a:avLst/>
              <a:gdLst>
                <a:gd name="connsiteX0" fmla="*/ 352235 w 342900"/>
                <a:gd name="connsiteY0" fmla="*/ 176117 h 342900"/>
                <a:gd name="connsiteX1" fmla="*/ 176117 w 342900"/>
                <a:gd name="connsiteY1" fmla="*/ 352235 h 342900"/>
                <a:gd name="connsiteX2" fmla="*/ 0 w 342900"/>
                <a:gd name="connsiteY2" fmla="*/ 176117 h 342900"/>
                <a:gd name="connsiteX3" fmla="*/ 176117 w 342900"/>
                <a:gd name="connsiteY3" fmla="*/ 0 h 342900"/>
                <a:gd name="connsiteX4" fmla="*/ 352235 w 342900"/>
                <a:gd name="connsiteY4" fmla="*/ 176117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900" h="342900">
                  <a:moveTo>
                    <a:pt x="352235" y="176117"/>
                  </a:moveTo>
                  <a:cubicBezTo>
                    <a:pt x="352235" y="273384"/>
                    <a:pt x="273384" y="352235"/>
                    <a:pt x="176117" y="352235"/>
                  </a:cubicBezTo>
                  <a:cubicBezTo>
                    <a:pt x="78851" y="352235"/>
                    <a:pt x="0" y="273384"/>
                    <a:pt x="0" y="176117"/>
                  </a:cubicBezTo>
                  <a:cubicBezTo>
                    <a:pt x="0" y="78850"/>
                    <a:pt x="78851" y="0"/>
                    <a:pt x="176117" y="0"/>
                  </a:cubicBezTo>
                  <a:cubicBezTo>
                    <a:pt x="273384" y="0"/>
                    <a:pt x="352235" y="78850"/>
                    <a:pt x="352235" y="176117"/>
                  </a:cubicBezTo>
                  <a:close/>
                </a:path>
              </a:pathLst>
            </a:custGeom>
            <a:solidFill>
              <a:srgbClr val="FFDB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015BCDB7-85DE-47E3-A0F2-9BCE22E532A0}"/>
                </a:ext>
              </a:extLst>
            </p:cNvPr>
            <p:cNvSpPr/>
            <p:nvPr/>
          </p:nvSpPr>
          <p:spPr>
            <a:xfrm>
              <a:off x="5366774" y="5087534"/>
              <a:ext cx="152400" cy="228602"/>
            </a:xfrm>
            <a:custGeom>
              <a:avLst/>
              <a:gdLst>
                <a:gd name="connsiteX0" fmla="*/ 21698 w 152400"/>
                <a:gd name="connsiteY0" fmla="*/ 111633 h 228600"/>
                <a:gd name="connsiteX1" fmla="*/ 19603 w 152400"/>
                <a:gd name="connsiteY1" fmla="*/ 152495 h 228600"/>
                <a:gd name="connsiteX2" fmla="*/ 55036 w 152400"/>
                <a:gd name="connsiteY2" fmla="*/ 97631 h 228600"/>
                <a:gd name="connsiteX3" fmla="*/ 79134 w 152400"/>
                <a:gd name="connsiteY3" fmla="*/ 0 h 228600"/>
                <a:gd name="connsiteX4" fmla="*/ 126759 w 152400"/>
                <a:gd name="connsiteY4" fmla="*/ 39338 h 228600"/>
                <a:gd name="connsiteX5" fmla="*/ 153715 w 152400"/>
                <a:gd name="connsiteY5" fmla="*/ 144113 h 228600"/>
                <a:gd name="connsiteX6" fmla="*/ 59798 w 152400"/>
                <a:gd name="connsiteY6" fmla="*/ 235077 h 228600"/>
                <a:gd name="connsiteX7" fmla="*/ 21698 w 152400"/>
                <a:gd name="connsiteY7" fmla="*/ 111633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400" h="228600">
                  <a:moveTo>
                    <a:pt x="21698" y="111633"/>
                  </a:moveTo>
                  <a:cubicBezTo>
                    <a:pt x="14269" y="123730"/>
                    <a:pt x="13412" y="139732"/>
                    <a:pt x="19603" y="152495"/>
                  </a:cubicBezTo>
                  <a:cubicBezTo>
                    <a:pt x="18936" y="130112"/>
                    <a:pt x="40272" y="114491"/>
                    <a:pt x="55036" y="97631"/>
                  </a:cubicBezTo>
                  <a:cubicBezTo>
                    <a:pt x="77991" y="71438"/>
                    <a:pt x="87230" y="33814"/>
                    <a:pt x="79134" y="0"/>
                  </a:cubicBezTo>
                  <a:cubicBezTo>
                    <a:pt x="99708" y="4763"/>
                    <a:pt x="115424" y="21527"/>
                    <a:pt x="126759" y="39338"/>
                  </a:cubicBezTo>
                  <a:cubicBezTo>
                    <a:pt x="146476" y="70295"/>
                    <a:pt x="157144" y="107537"/>
                    <a:pt x="153715" y="144113"/>
                  </a:cubicBezTo>
                  <a:cubicBezTo>
                    <a:pt x="149810" y="185738"/>
                    <a:pt x="113424" y="252413"/>
                    <a:pt x="59798" y="235077"/>
                  </a:cubicBezTo>
                  <a:cubicBezTo>
                    <a:pt x="3982" y="217075"/>
                    <a:pt x="-21355" y="151733"/>
                    <a:pt x="21698" y="111633"/>
                  </a:cubicBezTo>
                  <a:close/>
                </a:path>
              </a:pathLst>
            </a:custGeom>
            <a:solidFill>
              <a:srgbClr val="FBC7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06B6E80C-B495-4182-AFA5-09F159377EA8}"/>
                </a:ext>
              </a:extLst>
            </p:cNvPr>
            <p:cNvSpPr/>
            <p:nvPr/>
          </p:nvSpPr>
          <p:spPr>
            <a:xfrm>
              <a:off x="5397532" y="5196787"/>
              <a:ext cx="85725" cy="123826"/>
            </a:xfrm>
            <a:custGeom>
              <a:avLst/>
              <a:gdLst>
                <a:gd name="connsiteX0" fmla="*/ 4562 w 85725"/>
                <a:gd name="connsiteY0" fmla="*/ 100679 h 123825"/>
                <a:gd name="connsiteX1" fmla="*/ 4467 w 85725"/>
                <a:gd name="connsiteY1" fmla="*/ 69056 h 123825"/>
                <a:gd name="connsiteX2" fmla="*/ 10182 w 85725"/>
                <a:gd name="connsiteY2" fmla="*/ 84582 h 123825"/>
                <a:gd name="connsiteX3" fmla="*/ 21897 w 85725"/>
                <a:gd name="connsiteY3" fmla="*/ 58293 h 123825"/>
                <a:gd name="connsiteX4" fmla="*/ 47139 w 85725"/>
                <a:gd name="connsiteY4" fmla="*/ 41529 h 123825"/>
                <a:gd name="connsiteX5" fmla="*/ 69141 w 85725"/>
                <a:gd name="connsiteY5" fmla="*/ 0 h 123825"/>
                <a:gd name="connsiteX6" fmla="*/ 72189 w 85725"/>
                <a:gd name="connsiteY6" fmla="*/ 73723 h 123825"/>
                <a:gd name="connsiteX7" fmla="*/ 89620 w 85725"/>
                <a:gd name="connsiteY7" fmla="*/ 54673 h 123825"/>
                <a:gd name="connsiteX8" fmla="*/ 78762 w 85725"/>
                <a:gd name="connsiteY8" fmla="*/ 101918 h 123825"/>
                <a:gd name="connsiteX9" fmla="*/ 4562 w 85725"/>
                <a:gd name="connsiteY9" fmla="*/ 100679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5725" h="123825">
                  <a:moveTo>
                    <a:pt x="4562" y="100679"/>
                  </a:moveTo>
                  <a:cubicBezTo>
                    <a:pt x="-867" y="90964"/>
                    <a:pt x="-2105" y="78010"/>
                    <a:pt x="4467" y="69056"/>
                  </a:cubicBezTo>
                  <a:cubicBezTo>
                    <a:pt x="5229" y="74581"/>
                    <a:pt x="7229" y="79915"/>
                    <a:pt x="10182" y="84582"/>
                  </a:cubicBezTo>
                  <a:cubicBezTo>
                    <a:pt x="7896" y="74771"/>
                    <a:pt x="14182" y="64770"/>
                    <a:pt x="21897" y="58293"/>
                  </a:cubicBezTo>
                  <a:cubicBezTo>
                    <a:pt x="29708" y="51911"/>
                    <a:pt x="39138" y="47720"/>
                    <a:pt x="47139" y="41529"/>
                  </a:cubicBezTo>
                  <a:cubicBezTo>
                    <a:pt x="59807" y="31528"/>
                    <a:pt x="67998" y="16097"/>
                    <a:pt x="69141" y="0"/>
                  </a:cubicBezTo>
                  <a:cubicBezTo>
                    <a:pt x="75333" y="24289"/>
                    <a:pt x="81429" y="50483"/>
                    <a:pt x="72189" y="73723"/>
                  </a:cubicBezTo>
                  <a:cubicBezTo>
                    <a:pt x="79333" y="68866"/>
                    <a:pt x="85429" y="62294"/>
                    <a:pt x="89620" y="54673"/>
                  </a:cubicBezTo>
                  <a:cubicBezTo>
                    <a:pt x="94383" y="70771"/>
                    <a:pt x="89430" y="88868"/>
                    <a:pt x="78762" y="101918"/>
                  </a:cubicBezTo>
                  <a:cubicBezTo>
                    <a:pt x="55425" y="130588"/>
                    <a:pt x="23612" y="134779"/>
                    <a:pt x="4562" y="100679"/>
                  </a:cubicBezTo>
                  <a:close/>
                </a:path>
              </a:pathLst>
            </a:custGeom>
            <a:solidFill>
              <a:srgbClr val="F9A60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0A8547D0-3969-4807-B632-FFD0FA84AB5B}"/>
                </a:ext>
              </a:extLst>
            </p:cNvPr>
            <p:cNvSpPr/>
            <p:nvPr/>
          </p:nvSpPr>
          <p:spPr>
            <a:xfrm>
              <a:off x="5313988" y="5341568"/>
              <a:ext cx="257175" cy="38100"/>
            </a:xfrm>
            <a:custGeom>
              <a:avLst/>
              <a:gdLst>
                <a:gd name="connsiteX0" fmla="*/ 45434 w 257175"/>
                <a:gd name="connsiteY0" fmla="*/ 0 h 38100"/>
                <a:gd name="connsiteX1" fmla="*/ 214598 w 257175"/>
                <a:gd name="connsiteY1" fmla="*/ 0 h 38100"/>
                <a:gd name="connsiteX2" fmla="*/ 260033 w 257175"/>
                <a:gd name="connsiteY2" fmla="*/ 45434 h 38100"/>
                <a:gd name="connsiteX3" fmla="*/ 260033 w 257175"/>
                <a:gd name="connsiteY3" fmla="*/ 45434 h 38100"/>
                <a:gd name="connsiteX4" fmla="*/ 0 w 257175"/>
                <a:gd name="connsiteY4" fmla="*/ 45434 h 38100"/>
                <a:gd name="connsiteX5" fmla="*/ 0 w 257175"/>
                <a:gd name="connsiteY5" fmla="*/ 45434 h 38100"/>
                <a:gd name="connsiteX6" fmla="*/ 45434 w 257175"/>
                <a:gd name="connsiteY6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175" h="38100">
                  <a:moveTo>
                    <a:pt x="45434" y="0"/>
                  </a:moveTo>
                  <a:lnTo>
                    <a:pt x="214598" y="0"/>
                  </a:lnTo>
                  <a:cubicBezTo>
                    <a:pt x="239649" y="0"/>
                    <a:pt x="260033" y="20288"/>
                    <a:pt x="260033" y="45434"/>
                  </a:cubicBezTo>
                  <a:lnTo>
                    <a:pt x="260033" y="45434"/>
                  </a:lnTo>
                  <a:lnTo>
                    <a:pt x="0" y="45434"/>
                  </a:lnTo>
                  <a:lnTo>
                    <a:pt x="0" y="45434"/>
                  </a:lnTo>
                  <a:cubicBezTo>
                    <a:pt x="0" y="20288"/>
                    <a:pt x="20288" y="0"/>
                    <a:pt x="45434" y="0"/>
                  </a:cubicBezTo>
                  <a:close/>
                </a:path>
              </a:pathLst>
            </a:custGeom>
            <a:solidFill>
              <a:srgbClr val="2D406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996691A9-759E-4C2B-94EA-78B0CD6BC8CE}"/>
                </a:ext>
              </a:extLst>
            </p:cNvPr>
            <p:cNvSpPr/>
            <p:nvPr/>
          </p:nvSpPr>
          <p:spPr>
            <a:xfrm>
              <a:off x="6095702" y="4547176"/>
              <a:ext cx="104775" cy="104776"/>
            </a:xfrm>
            <a:custGeom>
              <a:avLst/>
              <a:gdLst>
                <a:gd name="connsiteX0" fmla="*/ 113348 w 104775"/>
                <a:gd name="connsiteY0" fmla="*/ 1 h 104775"/>
                <a:gd name="connsiteX1" fmla="*/ 0 w 104775"/>
                <a:gd name="connsiteY1" fmla="*/ 3811 h 104775"/>
                <a:gd name="connsiteX2" fmla="*/ 0 w 104775"/>
                <a:gd name="connsiteY2" fmla="*/ 109729 h 104775"/>
                <a:gd name="connsiteX3" fmla="*/ 113348 w 104775"/>
                <a:gd name="connsiteY3" fmla="*/ 85155 h 104775"/>
                <a:gd name="connsiteX4" fmla="*/ 113348 w 104775"/>
                <a:gd name="connsiteY4" fmla="*/ 1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775" h="104775">
                  <a:moveTo>
                    <a:pt x="113348" y="1"/>
                  </a:moveTo>
                  <a:cubicBezTo>
                    <a:pt x="75534" y="1"/>
                    <a:pt x="37815" y="-189"/>
                    <a:pt x="0" y="3811"/>
                  </a:cubicBezTo>
                  <a:lnTo>
                    <a:pt x="0" y="109729"/>
                  </a:lnTo>
                  <a:cubicBezTo>
                    <a:pt x="37815" y="101347"/>
                    <a:pt x="75534" y="93251"/>
                    <a:pt x="113348" y="85155"/>
                  </a:cubicBezTo>
                  <a:lnTo>
                    <a:pt x="113348" y="1"/>
                  </a:lnTo>
                  <a:close/>
                </a:path>
              </a:pathLst>
            </a:custGeom>
            <a:solidFill>
              <a:srgbClr val="FFDB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B691556E-CAAD-4883-8FDC-4ED4EAED06C9}"/>
                </a:ext>
              </a:extLst>
            </p:cNvPr>
            <p:cNvSpPr/>
            <p:nvPr/>
          </p:nvSpPr>
          <p:spPr>
            <a:xfrm>
              <a:off x="6095702" y="4632234"/>
              <a:ext cx="104775" cy="1295410"/>
            </a:xfrm>
            <a:custGeom>
              <a:avLst/>
              <a:gdLst>
                <a:gd name="connsiteX0" fmla="*/ 0 w 104775"/>
                <a:gd name="connsiteY0" fmla="*/ 24574 h 1295400"/>
                <a:gd name="connsiteX1" fmla="*/ 0 w 104775"/>
                <a:gd name="connsiteY1" fmla="*/ 1300448 h 1295400"/>
                <a:gd name="connsiteX2" fmla="*/ 113348 w 104775"/>
                <a:gd name="connsiteY2" fmla="*/ 1300448 h 1295400"/>
                <a:gd name="connsiteX3" fmla="*/ 113348 w 104775"/>
                <a:gd name="connsiteY3" fmla="*/ 0 h 1295400"/>
                <a:gd name="connsiteX4" fmla="*/ 0 w 104775"/>
                <a:gd name="connsiteY4" fmla="*/ 24574 h 129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775" h="1295400">
                  <a:moveTo>
                    <a:pt x="0" y="24574"/>
                  </a:moveTo>
                  <a:lnTo>
                    <a:pt x="0" y="1300448"/>
                  </a:lnTo>
                  <a:lnTo>
                    <a:pt x="113348" y="1300448"/>
                  </a:lnTo>
                  <a:lnTo>
                    <a:pt x="113348" y="0"/>
                  </a:lnTo>
                  <a:cubicBezTo>
                    <a:pt x="75534" y="8191"/>
                    <a:pt x="37719" y="16192"/>
                    <a:pt x="0" y="24574"/>
                  </a:cubicBezTo>
                  <a:close/>
                </a:path>
              </a:pathLst>
            </a:custGeom>
            <a:solidFill>
              <a:srgbClr val="FFDB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3F291E02-8569-480C-A128-EDEA52DBD781}"/>
                </a:ext>
              </a:extLst>
            </p:cNvPr>
            <p:cNvSpPr/>
            <p:nvPr/>
          </p:nvSpPr>
          <p:spPr>
            <a:xfrm>
              <a:off x="6095702" y="4135786"/>
              <a:ext cx="104775" cy="409578"/>
            </a:xfrm>
            <a:custGeom>
              <a:avLst/>
              <a:gdLst>
                <a:gd name="connsiteX0" fmla="*/ 113348 w 104775"/>
                <a:gd name="connsiteY0" fmla="*/ 411385 h 409575"/>
                <a:gd name="connsiteX1" fmla="*/ 113348 w 104775"/>
                <a:gd name="connsiteY1" fmla="*/ 0 h 409575"/>
                <a:gd name="connsiteX2" fmla="*/ 0 w 104775"/>
                <a:gd name="connsiteY2" fmla="*/ 0 h 409575"/>
                <a:gd name="connsiteX3" fmla="*/ 0 w 104775"/>
                <a:gd name="connsiteY3" fmla="*/ 415195 h 409575"/>
                <a:gd name="connsiteX4" fmla="*/ 113348 w 104775"/>
                <a:gd name="connsiteY4" fmla="*/ 411385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775" h="409575">
                  <a:moveTo>
                    <a:pt x="113348" y="411385"/>
                  </a:moveTo>
                  <a:lnTo>
                    <a:pt x="113348" y="0"/>
                  </a:lnTo>
                  <a:lnTo>
                    <a:pt x="0" y="0"/>
                  </a:lnTo>
                  <a:lnTo>
                    <a:pt x="0" y="415195"/>
                  </a:lnTo>
                  <a:cubicBezTo>
                    <a:pt x="37719" y="411194"/>
                    <a:pt x="75534" y="411385"/>
                    <a:pt x="113348" y="411385"/>
                  </a:cubicBezTo>
                  <a:close/>
                </a:path>
              </a:pathLst>
            </a:custGeom>
            <a:solidFill>
              <a:srgbClr val="FFDB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EC3E730A-312E-4F15-A9C7-6BCC76788EEA}"/>
                </a:ext>
              </a:extLst>
            </p:cNvPr>
            <p:cNvSpPr/>
            <p:nvPr/>
          </p:nvSpPr>
          <p:spPr>
            <a:xfrm>
              <a:off x="4836500" y="4522314"/>
              <a:ext cx="1419223" cy="66675"/>
            </a:xfrm>
            <a:custGeom>
              <a:avLst/>
              <a:gdLst>
                <a:gd name="connsiteX0" fmla="*/ 1396937 w 1419225"/>
                <a:gd name="connsiteY0" fmla="*/ 66866 h 66675"/>
                <a:gd name="connsiteX1" fmla="*/ 13621 w 1419225"/>
                <a:gd name="connsiteY1" fmla="*/ 66866 h 66675"/>
                <a:gd name="connsiteX2" fmla="*/ 0 w 1419225"/>
                <a:gd name="connsiteY2" fmla="*/ 53245 h 66675"/>
                <a:gd name="connsiteX3" fmla="*/ 0 w 1419225"/>
                <a:gd name="connsiteY3" fmla="*/ 13621 h 66675"/>
                <a:gd name="connsiteX4" fmla="*/ 13621 w 1419225"/>
                <a:gd name="connsiteY4" fmla="*/ 0 h 66675"/>
                <a:gd name="connsiteX5" fmla="*/ 1412177 w 1419225"/>
                <a:gd name="connsiteY5" fmla="*/ 0 h 66675"/>
                <a:gd name="connsiteX6" fmla="*/ 1424845 w 1419225"/>
                <a:gd name="connsiteY6" fmla="*/ 18479 h 66675"/>
                <a:gd name="connsiteX7" fmla="*/ 1409510 w 1419225"/>
                <a:gd name="connsiteY7" fmla="*/ 58103 h 66675"/>
                <a:gd name="connsiteX8" fmla="*/ 1396937 w 1419225"/>
                <a:gd name="connsiteY8" fmla="*/ 6686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19225" h="66675">
                  <a:moveTo>
                    <a:pt x="1396937" y="66866"/>
                  </a:moveTo>
                  <a:lnTo>
                    <a:pt x="13621" y="66866"/>
                  </a:lnTo>
                  <a:cubicBezTo>
                    <a:pt x="6096" y="66866"/>
                    <a:pt x="0" y="60770"/>
                    <a:pt x="0" y="53245"/>
                  </a:cubicBezTo>
                  <a:lnTo>
                    <a:pt x="0" y="13621"/>
                  </a:lnTo>
                  <a:cubicBezTo>
                    <a:pt x="0" y="6096"/>
                    <a:pt x="6096" y="0"/>
                    <a:pt x="13621" y="0"/>
                  </a:cubicBezTo>
                  <a:lnTo>
                    <a:pt x="1412177" y="0"/>
                  </a:lnTo>
                  <a:cubicBezTo>
                    <a:pt x="1421702" y="0"/>
                    <a:pt x="1428274" y="9620"/>
                    <a:pt x="1424845" y="18479"/>
                  </a:cubicBezTo>
                  <a:lnTo>
                    <a:pt x="1409510" y="58103"/>
                  </a:lnTo>
                  <a:cubicBezTo>
                    <a:pt x="1407605" y="63437"/>
                    <a:pt x="1402557" y="66866"/>
                    <a:pt x="1396937" y="66866"/>
                  </a:cubicBezTo>
                  <a:close/>
                </a:path>
              </a:pathLst>
            </a:custGeom>
            <a:solidFill>
              <a:srgbClr val="FFDB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57685975-F834-454F-9811-8044B8B8C8C3}"/>
                </a:ext>
              </a:extLst>
            </p:cNvPr>
            <p:cNvSpPr/>
            <p:nvPr/>
          </p:nvSpPr>
          <p:spPr>
            <a:xfrm>
              <a:off x="5066148" y="5375094"/>
              <a:ext cx="1066799" cy="28575"/>
            </a:xfrm>
            <a:custGeom>
              <a:avLst/>
              <a:gdLst>
                <a:gd name="connsiteX0" fmla="*/ 1048322 w 1066800"/>
                <a:gd name="connsiteY0" fmla="*/ 35147 h 28575"/>
                <a:gd name="connsiteX1" fmla="*/ 10192 w 1066800"/>
                <a:gd name="connsiteY1" fmla="*/ 35147 h 28575"/>
                <a:gd name="connsiteX2" fmla="*/ 0 w 1066800"/>
                <a:gd name="connsiteY2" fmla="*/ 28004 h 28575"/>
                <a:gd name="connsiteX3" fmla="*/ 0 w 1066800"/>
                <a:gd name="connsiteY3" fmla="*/ 7144 h 28575"/>
                <a:gd name="connsiteX4" fmla="*/ 10192 w 1066800"/>
                <a:gd name="connsiteY4" fmla="*/ 0 h 28575"/>
                <a:gd name="connsiteX5" fmla="*/ 1059847 w 1066800"/>
                <a:gd name="connsiteY5" fmla="*/ 0 h 28575"/>
                <a:gd name="connsiteX6" fmla="*/ 1069372 w 1066800"/>
                <a:gd name="connsiteY6" fmla="*/ 9715 h 28575"/>
                <a:gd name="connsiteX7" fmla="*/ 1057847 w 1066800"/>
                <a:gd name="connsiteY7" fmla="*/ 30575 h 28575"/>
                <a:gd name="connsiteX8" fmla="*/ 1048322 w 1066800"/>
                <a:gd name="connsiteY8" fmla="*/ 35147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66800" h="28575">
                  <a:moveTo>
                    <a:pt x="1048322" y="35147"/>
                  </a:moveTo>
                  <a:lnTo>
                    <a:pt x="10192" y="35147"/>
                  </a:lnTo>
                  <a:cubicBezTo>
                    <a:pt x="4572" y="35147"/>
                    <a:pt x="0" y="31909"/>
                    <a:pt x="0" y="28004"/>
                  </a:cubicBezTo>
                  <a:lnTo>
                    <a:pt x="0" y="7144"/>
                  </a:lnTo>
                  <a:cubicBezTo>
                    <a:pt x="0" y="3238"/>
                    <a:pt x="4572" y="0"/>
                    <a:pt x="10192" y="0"/>
                  </a:cubicBezTo>
                  <a:lnTo>
                    <a:pt x="1059847" y="0"/>
                  </a:lnTo>
                  <a:cubicBezTo>
                    <a:pt x="1066991" y="0"/>
                    <a:pt x="1071943" y="5048"/>
                    <a:pt x="1069372" y="9715"/>
                  </a:cubicBezTo>
                  <a:lnTo>
                    <a:pt x="1057847" y="30575"/>
                  </a:lnTo>
                  <a:cubicBezTo>
                    <a:pt x="1056323" y="33242"/>
                    <a:pt x="1052513" y="35147"/>
                    <a:pt x="1048322" y="35147"/>
                  </a:cubicBezTo>
                  <a:close/>
                </a:path>
              </a:pathLst>
            </a:custGeom>
            <a:solidFill>
              <a:srgbClr val="FFDB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BB249F59-0AB6-4503-8CC3-6F6FAAB945CD}"/>
                </a:ext>
              </a:extLst>
            </p:cNvPr>
            <p:cNvSpPr/>
            <p:nvPr/>
          </p:nvSpPr>
          <p:spPr>
            <a:xfrm>
              <a:off x="5998644" y="4479356"/>
              <a:ext cx="266700" cy="266702"/>
            </a:xfrm>
            <a:custGeom>
              <a:avLst/>
              <a:gdLst>
                <a:gd name="connsiteX0" fmla="*/ 268986 w 266700"/>
                <a:gd name="connsiteY0" fmla="*/ 134493 h 266700"/>
                <a:gd name="connsiteX1" fmla="*/ 134493 w 266700"/>
                <a:gd name="connsiteY1" fmla="*/ 268986 h 266700"/>
                <a:gd name="connsiteX2" fmla="*/ 0 w 266700"/>
                <a:gd name="connsiteY2" fmla="*/ 134493 h 266700"/>
                <a:gd name="connsiteX3" fmla="*/ 134493 w 266700"/>
                <a:gd name="connsiteY3" fmla="*/ 0 h 266700"/>
                <a:gd name="connsiteX4" fmla="*/ 268986 w 266700"/>
                <a:gd name="connsiteY4" fmla="*/ 134493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700" h="266700">
                  <a:moveTo>
                    <a:pt x="268986" y="134493"/>
                  </a:moveTo>
                  <a:cubicBezTo>
                    <a:pt x="268986" y="208771"/>
                    <a:pt x="208772" y="268986"/>
                    <a:pt x="134493" y="268986"/>
                  </a:cubicBezTo>
                  <a:cubicBezTo>
                    <a:pt x="60215" y="268986"/>
                    <a:pt x="0" y="208771"/>
                    <a:pt x="0" y="134493"/>
                  </a:cubicBezTo>
                  <a:cubicBezTo>
                    <a:pt x="0" y="60215"/>
                    <a:pt x="60215" y="0"/>
                    <a:pt x="134493" y="0"/>
                  </a:cubicBezTo>
                  <a:cubicBezTo>
                    <a:pt x="208772" y="0"/>
                    <a:pt x="268986" y="60215"/>
                    <a:pt x="268986" y="134493"/>
                  </a:cubicBezTo>
                  <a:close/>
                </a:path>
              </a:pathLst>
            </a:custGeom>
            <a:solidFill>
              <a:srgbClr val="F9A60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85798316-82F7-42A8-A801-BE3CD3557F36}"/>
                </a:ext>
              </a:extLst>
            </p:cNvPr>
            <p:cNvSpPr/>
            <p:nvPr/>
          </p:nvSpPr>
          <p:spPr>
            <a:xfrm>
              <a:off x="3629779" y="5026762"/>
              <a:ext cx="247650" cy="247652"/>
            </a:xfrm>
            <a:custGeom>
              <a:avLst/>
              <a:gdLst>
                <a:gd name="connsiteX0" fmla="*/ 252032 w 247650"/>
                <a:gd name="connsiteY0" fmla="*/ 126016 h 247650"/>
                <a:gd name="connsiteX1" fmla="*/ 126016 w 247650"/>
                <a:gd name="connsiteY1" fmla="*/ 252032 h 247650"/>
                <a:gd name="connsiteX2" fmla="*/ 0 w 247650"/>
                <a:gd name="connsiteY2" fmla="*/ 126016 h 247650"/>
                <a:gd name="connsiteX3" fmla="*/ 126016 w 247650"/>
                <a:gd name="connsiteY3" fmla="*/ 0 h 247650"/>
                <a:gd name="connsiteX4" fmla="*/ 252032 w 247650"/>
                <a:gd name="connsiteY4" fmla="*/ 126016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650" h="247650">
                  <a:moveTo>
                    <a:pt x="252032" y="126016"/>
                  </a:moveTo>
                  <a:cubicBezTo>
                    <a:pt x="252032" y="195548"/>
                    <a:pt x="195644" y="252032"/>
                    <a:pt x="126016" y="252032"/>
                  </a:cubicBezTo>
                  <a:cubicBezTo>
                    <a:pt x="56388" y="252032"/>
                    <a:pt x="0" y="195644"/>
                    <a:pt x="0" y="126016"/>
                  </a:cubicBezTo>
                  <a:cubicBezTo>
                    <a:pt x="0" y="56483"/>
                    <a:pt x="56388" y="0"/>
                    <a:pt x="126016" y="0"/>
                  </a:cubicBezTo>
                  <a:cubicBezTo>
                    <a:pt x="195644" y="0"/>
                    <a:pt x="252032" y="56483"/>
                    <a:pt x="252032" y="126016"/>
                  </a:cubicBezTo>
                  <a:close/>
                </a:path>
              </a:pathLst>
            </a:custGeom>
            <a:solidFill>
              <a:srgbClr val="DBD75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B707A994-D0BA-4B4D-8651-E19D3B0686DC}"/>
                </a:ext>
              </a:extLst>
            </p:cNvPr>
            <p:cNvSpPr/>
            <p:nvPr/>
          </p:nvSpPr>
          <p:spPr>
            <a:xfrm>
              <a:off x="3681595" y="4745392"/>
              <a:ext cx="76200" cy="76201"/>
            </a:xfrm>
            <a:custGeom>
              <a:avLst/>
              <a:gdLst>
                <a:gd name="connsiteX0" fmla="*/ 83820 w 76200"/>
                <a:gd name="connsiteY0" fmla="*/ 41910 h 76200"/>
                <a:gd name="connsiteX1" fmla="*/ 41910 w 76200"/>
                <a:gd name="connsiteY1" fmla="*/ 83820 h 76200"/>
                <a:gd name="connsiteX2" fmla="*/ 0 w 76200"/>
                <a:gd name="connsiteY2" fmla="*/ 41910 h 76200"/>
                <a:gd name="connsiteX3" fmla="*/ 41910 w 76200"/>
                <a:gd name="connsiteY3" fmla="*/ 0 h 76200"/>
                <a:gd name="connsiteX4" fmla="*/ 83820 w 76200"/>
                <a:gd name="connsiteY4" fmla="*/ 4191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83820" y="41910"/>
                  </a:moveTo>
                  <a:cubicBezTo>
                    <a:pt x="83820" y="65056"/>
                    <a:pt x="65056" y="83820"/>
                    <a:pt x="41910" y="83820"/>
                  </a:cubicBezTo>
                  <a:cubicBezTo>
                    <a:pt x="18764" y="83820"/>
                    <a:pt x="0" y="65056"/>
                    <a:pt x="0" y="41910"/>
                  </a:cubicBezTo>
                  <a:cubicBezTo>
                    <a:pt x="0" y="18764"/>
                    <a:pt x="18764" y="0"/>
                    <a:pt x="41910" y="0"/>
                  </a:cubicBezTo>
                  <a:cubicBezTo>
                    <a:pt x="65056" y="0"/>
                    <a:pt x="83820" y="18764"/>
                    <a:pt x="83820" y="41910"/>
                  </a:cubicBezTo>
                  <a:close/>
                </a:path>
              </a:pathLst>
            </a:custGeom>
            <a:solidFill>
              <a:srgbClr val="DBD75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DC9C3411-BBCF-47E7-B323-D78F60638564}"/>
                </a:ext>
              </a:extLst>
            </p:cNvPr>
            <p:cNvSpPr/>
            <p:nvPr/>
          </p:nvSpPr>
          <p:spPr>
            <a:xfrm>
              <a:off x="3522528" y="4876457"/>
              <a:ext cx="123825" cy="123826"/>
            </a:xfrm>
            <a:custGeom>
              <a:avLst/>
              <a:gdLst>
                <a:gd name="connsiteX0" fmla="*/ 131636 w 123825"/>
                <a:gd name="connsiteY0" fmla="*/ 65818 h 123825"/>
                <a:gd name="connsiteX1" fmla="*/ 65818 w 123825"/>
                <a:gd name="connsiteY1" fmla="*/ 131636 h 123825"/>
                <a:gd name="connsiteX2" fmla="*/ 0 w 123825"/>
                <a:gd name="connsiteY2" fmla="*/ 65818 h 123825"/>
                <a:gd name="connsiteX3" fmla="*/ 65818 w 123825"/>
                <a:gd name="connsiteY3" fmla="*/ 0 h 123825"/>
                <a:gd name="connsiteX4" fmla="*/ 131636 w 123825"/>
                <a:gd name="connsiteY4" fmla="*/ 65818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" h="123825">
                  <a:moveTo>
                    <a:pt x="131636" y="65818"/>
                  </a:moveTo>
                  <a:cubicBezTo>
                    <a:pt x="131636" y="102108"/>
                    <a:pt x="102203" y="131636"/>
                    <a:pt x="65818" y="131636"/>
                  </a:cubicBezTo>
                  <a:cubicBezTo>
                    <a:pt x="29528" y="131636"/>
                    <a:pt x="0" y="102203"/>
                    <a:pt x="0" y="65818"/>
                  </a:cubicBezTo>
                  <a:cubicBezTo>
                    <a:pt x="0" y="29528"/>
                    <a:pt x="29432" y="0"/>
                    <a:pt x="65818" y="0"/>
                  </a:cubicBezTo>
                  <a:cubicBezTo>
                    <a:pt x="102203" y="0"/>
                    <a:pt x="131636" y="29432"/>
                    <a:pt x="131636" y="65818"/>
                  </a:cubicBezTo>
                  <a:close/>
                </a:path>
              </a:pathLst>
            </a:custGeom>
            <a:solidFill>
              <a:srgbClr val="DBD75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D2D8DDEA-5B47-45CD-A3F1-39A60DE91EE0}"/>
                </a:ext>
              </a:extLst>
            </p:cNvPr>
            <p:cNvSpPr/>
            <p:nvPr/>
          </p:nvSpPr>
          <p:spPr>
            <a:xfrm>
              <a:off x="6094857" y="5912739"/>
              <a:ext cx="114300" cy="9525"/>
            </a:xfrm>
            <a:custGeom>
              <a:avLst/>
              <a:gdLst>
                <a:gd name="connsiteX0" fmla="*/ 0 w 114300"/>
                <a:gd name="connsiteY0" fmla="*/ 0 h 0"/>
                <a:gd name="connsiteX1" fmla="*/ 114967 w 1143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300">
                  <a:moveTo>
                    <a:pt x="0" y="0"/>
                  </a:moveTo>
                  <a:lnTo>
                    <a:pt x="114967" y="0"/>
                  </a:lnTo>
                </a:path>
              </a:pathLst>
            </a:custGeom>
            <a:ln w="4763" cap="flat">
              <a:solidFill>
                <a:srgbClr val="1C172B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grpSp>
        <p:nvGrpSpPr>
          <p:cNvPr id="2" name="组合 1">
            <a:extLst>
              <a:ext uri="{FF2B5EF4-FFF2-40B4-BE49-F238E27FC236}">
                <a16:creationId xmlns:a16="http://schemas.microsoft.com/office/drawing/2014/main" id="{6C5D4EE4-A0C7-4377-824A-6522612F4409}"/>
              </a:ext>
            </a:extLst>
          </p:cNvPr>
          <p:cNvGrpSpPr/>
          <p:nvPr userDrawn="1"/>
        </p:nvGrpSpPr>
        <p:grpSpPr>
          <a:xfrm>
            <a:off x="8640751" y="893422"/>
            <a:ext cx="2608750" cy="5964578"/>
            <a:chOff x="8640751" y="893422"/>
            <a:chExt cx="2608750" cy="5964578"/>
          </a:xfrm>
        </p:grpSpPr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94B4A1B8-DBE8-476E-8FAC-4FE557506BAE}"/>
                </a:ext>
              </a:extLst>
            </p:cNvPr>
            <p:cNvSpPr/>
            <p:nvPr/>
          </p:nvSpPr>
          <p:spPr>
            <a:xfrm>
              <a:off x="8640751" y="2320202"/>
              <a:ext cx="2050099" cy="4531797"/>
            </a:xfrm>
            <a:custGeom>
              <a:avLst/>
              <a:gdLst>
                <a:gd name="connsiteX0" fmla="*/ 848963 w 1447800"/>
                <a:gd name="connsiteY0" fmla="*/ 63151 h 3200400"/>
                <a:gd name="connsiteX1" fmla="*/ 848963 w 1447800"/>
                <a:gd name="connsiteY1" fmla="*/ 422148 h 3200400"/>
                <a:gd name="connsiteX2" fmla="*/ 334709 w 1447800"/>
                <a:gd name="connsiteY2" fmla="*/ 538544 h 3200400"/>
                <a:gd name="connsiteX3" fmla="*/ 0 w 1447800"/>
                <a:gd name="connsiteY3" fmla="*/ 2537174 h 3200400"/>
                <a:gd name="connsiteX4" fmla="*/ 0 w 1447800"/>
                <a:gd name="connsiteY4" fmla="*/ 3206591 h 3200400"/>
                <a:gd name="connsiteX5" fmla="*/ 1450467 w 1447800"/>
                <a:gd name="connsiteY5" fmla="*/ 3206591 h 3200400"/>
                <a:gd name="connsiteX6" fmla="*/ 1440752 w 1447800"/>
                <a:gd name="connsiteY6" fmla="*/ 495681 h 3200400"/>
                <a:gd name="connsiteX7" fmla="*/ 1038130 w 1447800"/>
                <a:gd name="connsiteY7" fmla="*/ 422053 h 3200400"/>
                <a:gd name="connsiteX8" fmla="*/ 1023557 w 1447800"/>
                <a:gd name="connsiteY8" fmla="*/ 0 h 3200400"/>
                <a:gd name="connsiteX9" fmla="*/ 848963 w 1447800"/>
                <a:gd name="connsiteY9" fmla="*/ 63151 h 320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47800" h="3200400">
                  <a:moveTo>
                    <a:pt x="848963" y="63151"/>
                  </a:moveTo>
                  <a:lnTo>
                    <a:pt x="848963" y="422148"/>
                  </a:lnTo>
                  <a:cubicBezTo>
                    <a:pt x="848963" y="422148"/>
                    <a:pt x="431768" y="427006"/>
                    <a:pt x="334709" y="538544"/>
                  </a:cubicBezTo>
                  <a:cubicBezTo>
                    <a:pt x="237744" y="650177"/>
                    <a:pt x="101918" y="1280827"/>
                    <a:pt x="0" y="2537174"/>
                  </a:cubicBezTo>
                  <a:lnTo>
                    <a:pt x="0" y="3206591"/>
                  </a:lnTo>
                  <a:lnTo>
                    <a:pt x="1450467" y="3206591"/>
                  </a:lnTo>
                  <a:lnTo>
                    <a:pt x="1440752" y="495681"/>
                  </a:lnTo>
                  <a:cubicBezTo>
                    <a:pt x="1440752" y="495681"/>
                    <a:pt x="1416463" y="460819"/>
                    <a:pt x="1038130" y="422053"/>
                  </a:cubicBezTo>
                  <a:lnTo>
                    <a:pt x="1023557" y="0"/>
                  </a:lnTo>
                  <a:lnTo>
                    <a:pt x="848963" y="63151"/>
                  </a:lnTo>
                  <a:close/>
                </a:path>
              </a:pathLst>
            </a:custGeom>
            <a:solidFill>
              <a:srgbClr val="FFA1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2E98BD79-D5A3-42F1-B2AC-52B09E97D467}"/>
                </a:ext>
              </a:extLst>
            </p:cNvPr>
            <p:cNvSpPr/>
            <p:nvPr/>
          </p:nvSpPr>
          <p:spPr>
            <a:xfrm>
              <a:off x="9842891" y="2390740"/>
              <a:ext cx="242775" cy="350675"/>
            </a:xfrm>
            <a:custGeom>
              <a:avLst/>
              <a:gdLst>
                <a:gd name="connsiteX0" fmla="*/ 178975 w 171450"/>
                <a:gd name="connsiteY0" fmla="*/ 127921 h 247650"/>
                <a:gd name="connsiteX1" fmla="*/ 174593 w 171450"/>
                <a:gd name="connsiteY1" fmla="*/ 0 h 247650"/>
                <a:gd name="connsiteX2" fmla="*/ 0 w 171450"/>
                <a:gd name="connsiteY2" fmla="*/ 63056 h 247650"/>
                <a:gd name="connsiteX3" fmla="*/ 0 w 171450"/>
                <a:gd name="connsiteY3" fmla="*/ 252698 h 247650"/>
                <a:gd name="connsiteX4" fmla="*/ 178975 w 171450"/>
                <a:gd name="connsiteY4" fmla="*/ 127921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47650">
                  <a:moveTo>
                    <a:pt x="178975" y="127921"/>
                  </a:moveTo>
                  <a:lnTo>
                    <a:pt x="174593" y="0"/>
                  </a:lnTo>
                  <a:lnTo>
                    <a:pt x="0" y="63056"/>
                  </a:lnTo>
                  <a:lnTo>
                    <a:pt x="0" y="252698"/>
                  </a:lnTo>
                  <a:cubicBezTo>
                    <a:pt x="72771" y="235172"/>
                    <a:pt x="134207" y="188214"/>
                    <a:pt x="178975" y="127921"/>
                  </a:cubicBezTo>
                  <a:close/>
                </a:path>
              </a:pathLst>
            </a:custGeom>
            <a:solidFill>
              <a:srgbClr val="F28B8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E345F104-F1A0-4B75-B61C-44E9B3508F83}"/>
                </a:ext>
              </a:extLst>
            </p:cNvPr>
            <p:cNvSpPr/>
            <p:nvPr/>
          </p:nvSpPr>
          <p:spPr>
            <a:xfrm>
              <a:off x="8705491" y="2754094"/>
              <a:ext cx="1982661" cy="2454723"/>
            </a:xfrm>
            <a:custGeom>
              <a:avLst/>
              <a:gdLst>
                <a:gd name="connsiteX0" fmla="*/ 1395032 w 1400175"/>
                <a:gd name="connsiteY0" fmla="*/ 189357 h 1733550"/>
                <a:gd name="connsiteX1" fmla="*/ 992410 w 1400175"/>
                <a:gd name="connsiteY1" fmla="*/ 115729 h 1733550"/>
                <a:gd name="connsiteX2" fmla="*/ 988409 w 1400175"/>
                <a:gd name="connsiteY2" fmla="*/ 0 h 1733550"/>
                <a:gd name="connsiteX3" fmla="*/ 898017 w 1400175"/>
                <a:gd name="connsiteY3" fmla="*/ 96107 h 1733550"/>
                <a:gd name="connsiteX4" fmla="*/ 803243 w 1400175"/>
                <a:gd name="connsiteY4" fmla="*/ 0 h 1733550"/>
                <a:gd name="connsiteX5" fmla="*/ 803243 w 1400175"/>
                <a:gd name="connsiteY5" fmla="*/ 115729 h 1733550"/>
                <a:gd name="connsiteX6" fmla="*/ 288989 w 1400175"/>
                <a:gd name="connsiteY6" fmla="*/ 232124 h 1733550"/>
                <a:gd name="connsiteX7" fmla="*/ 0 w 1400175"/>
                <a:gd name="connsiteY7" fmla="*/ 1728216 h 1733550"/>
                <a:gd name="connsiteX8" fmla="*/ 1400556 w 1400175"/>
                <a:gd name="connsiteY8" fmla="*/ 1737360 h 1733550"/>
                <a:gd name="connsiteX9" fmla="*/ 1395032 w 1400175"/>
                <a:gd name="connsiteY9" fmla="*/ 189357 h 1733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00175" h="1733550">
                  <a:moveTo>
                    <a:pt x="1395032" y="189357"/>
                  </a:moveTo>
                  <a:cubicBezTo>
                    <a:pt x="1395032" y="189357"/>
                    <a:pt x="1370743" y="154495"/>
                    <a:pt x="992410" y="115729"/>
                  </a:cubicBezTo>
                  <a:lnTo>
                    <a:pt x="988409" y="0"/>
                  </a:lnTo>
                  <a:cubicBezTo>
                    <a:pt x="941737" y="15526"/>
                    <a:pt x="903732" y="44482"/>
                    <a:pt x="898017" y="96107"/>
                  </a:cubicBezTo>
                  <a:cubicBezTo>
                    <a:pt x="881348" y="54388"/>
                    <a:pt x="844106" y="667"/>
                    <a:pt x="803243" y="0"/>
                  </a:cubicBezTo>
                  <a:lnTo>
                    <a:pt x="803243" y="115729"/>
                  </a:lnTo>
                  <a:cubicBezTo>
                    <a:pt x="803243" y="115729"/>
                    <a:pt x="386048" y="120586"/>
                    <a:pt x="288989" y="232124"/>
                  </a:cubicBezTo>
                  <a:cubicBezTo>
                    <a:pt x="205931" y="327755"/>
                    <a:pt x="94298" y="804101"/>
                    <a:pt x="0" y="1728216"/>
                  </a:cubicBezTo>
                  <a:cubicBezTo>
                    <a:pt x="466058" y="1721549"/>
                    <a:pt x="933641" y="1738312"/>
                    <a:pt x="1400556" y="1737360"/>
                  </a:cubicBezTo>
                  <a:lnTo>
                    <a:pt x="1395032" y="189357"/>
                  </a:lnTo>
                  <a:close/>
                </a:path>
              </a:pathLst>
            </a:custGeom>
            <a:solidFill>
              <a:srgbClr val="0062C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9D415762-EAF4-4989-9212-443B2B6395CE}"/>
                </a:ext>
              </a:extLst>
            </p:cNvPr>
            <p:cNvSpPr/>
            <p:nvPr/>
          </p:nvSpPr>
          <p:spPr>
            <a:xfrm>
              <a:off x="9980463" y="2914460"/>
              <a:ext cx="13487" cy="2279386"/>
            </a:xfrm>
            <a:custGeom>
              <a:avLst/>
              <a:gdLst>
                <a:gd name="connsiteX0" fmla="*/ 0 w 0"/>
                <a:gd name="connsiteY0" fmla="*/ 0 h 1609725"/>
                <a:gd name="connsiteX1" fmla="*/ 0 w 0"/>
                <a:gd name="connsiteY1" fmla="*/ 1615535 h 160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609725">
                  <a:moveTo>
                    <a:pt x="0" y="0"/>
                  </a:moveTo>
                  <a:lnTo>
                    <a:pt x="0" y="1615535"/>
                  </a:lnTo>
                </a:path>
              </a:pathLst>
            </a:custGeom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F5ED314E-B8D4-4F1A-A12A-FDCEF766824D}"/>
                </a:ext>
              </a:extLst>
            </p:cNvPr>
            <p:cNvSpPr/>
            <p:nvPr/>
          </p:nvSpPr>
          <p:spPr>
            <a:xfrm>
              <a:off x="8640751" y="5199039"/>
              <a:ext cx="2050099" cy="1658961"/>
            </a:xfrm>
            <a:custGeom>
              <a:avLst/>
              <a:gdLst>
                <a:gd name="connsiteX0" fmla="*/ 45720 w 1447800"/>
                <a:gd name="connsiteY0" fmla="*/ 1572 h 1171575"/>
                <a:gd name="connsiteX1" fmla="*/ 0 w 1447800"/>
                <a:gd name="connsiteY1" fmla="*/ 504111 h 1171575"/>
                <a:gd name="connsiteX2" fmla="*/ 0 w 1447800"/>
                <a:gd name="connsiteY2" fmla="*/ 1173528 h 1171575"/>
                <a:gd name="connsiteX3" fmla="*/ 1450467 w 1447800"/>
                <a:gd name="connsiteY3" fmla="*/ 1173528 h 1171575"/>
                <a:gd name="connsiteX4" fmla="*/ 1446276 w 1447800"/>
                <a:gd name="connsiteY4" fmla="*/ 10715 h 1171575"/>
                <a:gd name="connsiteX5" fmla="*/ 45720 w 1447800"/>
                <a:gd name="connsiteY5" fmla="*/ 1572 h 1171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47800" h="1171575">
                  <a:moveTo>
                    <a:pt x="45720" y="1572"/>
                  </a:moveTo>
                  <a:cubicBezTo>
                    <a:pt x="29909" y="156448"/>
                    <a:pt x="14573" y="323802"/>
                    <a:pt x="0" y="504111"/>
                  </a:cubicBezTo>
                  <a:lnTo>
                    <a:pt x="0" y="1173528"/>
                  </a:lnTo>
                  <a:lnTo>
                    <a:pt x="1450467" y="1173528"/>
                  </a:lnTo>
                  <a:lnTo>
                    <a:pt x="1446276" y="10715"/>
                  </a:lnTo>
                  <a:cubicBezTo>
                    <a:pt x="979361" y="11668"/>
                    <a:pt x="511778" y="-5096"/>
                    <a:pt x="45720" y="1572"/>
                  </a:cubicBezTo>
                  <a:close/>
                </a:path>
              </a:pathLst>
            </a:custGeom>
            <a:solidFill>
              <a:srgbClr val="FBC7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15F5B8A1-3392-49E2-833F-D3615B7AEF9B}"/>
                </a:ext>
              </a:extLst>
            </p:cNvPr>
            <p:cNvSpPr/>
            <p:nvPr/>
          </p:nvSpPr>
          <p:spPr>
            <a:xfrm>
              <a:off x="8640751" y="2917023"/>
              <a:ext cx="1200387" cy="3938348"/>
            </a:xfrm>
            <a:custGeom>
              <a:avLst/>
              <a:gdLst>
                <a:gd name="connsiteX0" fmla="*/ 334709 w 847725"/>
                <a:gd name="connsiteY0" fmla="*/ 117062 h 2781300"/>
                <a:gd name="connsiteX1" fmla="*/ 0 w 847725"/>
                <a:gd name="connsiteY1" fmla="*/ 2115693 h 2781300"/>
                <a:gd name="connsiteX2" fmla="*/ 0 w 847725"/>
                <a:gd name="connsiteY2" fmla="*/ 2785110 h 2781300"/>
                <a:gd name="connsiteX3" fmla="*/ 586264 w 847725"/>
                <a:gd name="connsiteY3" fmla="*/ 2785110 h 2781300"/>
                <a:gd name="connsiteX4" fmla="*/ 844106 w 847725"/>
                <a:gd name="connsiteY4" fmla="*/ 2527268 h 2781300"/>
                <a:gd name="connsiteX5" fmla="*/ 848297 w 847725"/>
                <a:gd name="connsiteY5" fmla="*/ 0 h 2781300"/>
                <a:gd name="connsiteX6" fmla="*/ 334709 w 847725"/>
                <a:gd name="connsiteY6" fmla="*/ 117062 h 2781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7725" h="2781300">
                  <a:moveTo>
                    <a:pt x="334709" y="117062"/>
                  </a:moveTo>
                  <a:cubicBezTo>
                    <a:pt x="237744" y="228695"/>
                    <a:pt x="101918" y="859346"/>
                    <a:pt x="0" y="2115693"/>
                  </a:cubicBezTo>
                  <a:lnTo>
                    <a:pt x="0" y="2785110"/>
                  </a:lnTo>
                  <a:lnTo>
                    <a:pt x="586264" y="2785110"/>
                  </a:lnTo>
                  <a:cubicBezTo>
                    <a:pt x="728663" y="2785110"/>
                    <a:pt x="844106" y="2669667"/>
                    <a:pt x="844106" y="2527268"/>
                  </a:cubicBezTo>
                  <a:lnTo>
                    <a:pt x="848297" y="0"/>
                  </a:lnTo>
                  <a:cubicBezTo>
                    <a:pt x="802005" y="953"/>
                    <a:pt x="425672" y="12573"/>
                    <a:pt x="334709" y="117062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81E8ED27-C763-441C-AA88-B6F8A7FAEBDF}"/>
                </a:ext>
              </a:extLst>
            </p:cNvPr>
            <p:cNvSpPr/>
            <p:nvPr/>
          </p:nvSpPr>
          <p:spPr>
            <a:xfrm>
              <a:off x="10105763" y="2917967"/>
              <a:ext cx="579962" cy="3938348"/>
            </a:xfrm>
            <a:custGeom>
              <a:avLst/>
              <a:gdLst>
                <a:gd name="connsiteX0" fmla="*/ 415861 w 409575"/>
                <a:gd name="connsiteY0" fmla="*/ 2784539 h 2781300"/>
                <a:gd name="connsiteX1" fmla="*/ 406146 w 409575"/>
                <a:gd name="connsiteY1" fmla="*/ 73628 h 2781300"/>
                <a:gd name="connsiteX2" fmla="*/ 3524 w 409575"/>
                <a:gd name="connsiteY2" fmla="*/ 0 h 2781300"/>
                <a:gd name="connsiteX3" fmla="*/ 0 w 409575"/>
                <a:gd name="connsiteY3" fmla="*/ 2469928 h 2781300"/>
                <a:gd name="connsiteX4" fmla="*/ 314611 w 409575"/>
                <a:gd name="connsiteY4" fmla="*/ 2784539 h 2781300"/>
                <a:gd name="connsiteX5" fmla="*/ 415861 w 409575"/>
                <a:gd name="connsiteY5" fmla="*/ 2784539 h 2781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9575" h="2781300">
                  <a:moveTo>
                    <a:pt x="415861" y="2784539"/>
                  </a:moveTo>
                  <a:lnTo>
                    <a:pt x="406146" y="73628"/>
                  </a:lnTo>
                  <a:cubicBezTo>
                    <a:pt x="406146" y="73628"/>
                    <a:pt x="381857" y="38767"/>
                    <a:pt x="3524" y="0"/>
                  </a:cubicBezTo>
                  <a:lnTo>
                    <a:pt x="0" y="2469928"/>
                  </a:lnTo>
                  <a:cubicBezTo>
                    <a:pt x="0" y="2643664"/>
                    <a:pt x="140875" y="2784539"/>
                    <a:pt x="314611" y="2784539"/>
                  </a:cubicBezTo>
                  <a:lnTo>
                    <a:pt x="415861" y="278453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EE615101-F7B7-4EB5-8B45-DAC5C7C5E9F5}"/>
                </a:ext>
              </a:extLst>
            </p:cNvPr>
            <p:cNvSpPr/>
            <p:nvPr/>
          </p:nvSpPr>
          <p:spPr>
            <a:xfrm>
              <a:off x="9262389" y="4263209"/>
              <a:ext cx="13487" cy="2589598"/>
            </a:xfrm>
            <a:custGeom>
              <a:avLst/>
              <a:gdLst>
                <a:gd name="connsiteX0" fmla="*/ 0 w 0"/>
                <a:gd name="connsiteY0" fmla="*/ 0 h 1828800"/>
                <a:gd name="connsiteX1" fmla="*/ 0 w 0"/>
                <a:gd name="connsiteY1" fmla="*/ 1837658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828800">
                  <a:moveTo>
                    <a:pt x="0" y="0"/>
                  </a:moveTo>
                  <a:lnTo>
                    <a:pt x="0" y="1837658"/>
                  </a:lnTo>
                </a:path>
              </a:pathLst>
            </a:custGeom>
            <a:ln w="12700" cap="flat">
              <a:solidFill>
                <a:srgbClr val="0052AC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4451413D-015F-402D-BDE0-665BE316598D}"/>
                </a:ext>
              </a:extLst>
            </p:cNvPr>
            <p:cNvSpPr/>
            <p:nvPr/>
          </p:nvSpPr>
          <p:spPr>
            <a:xfrm>
              <a:off x="9406638" y="2856733"/>
              <a:ext cx="431600" cy="1658961"/>
            </a:xfrm>
            <a:custGeom>
              <a:avLst/>
              <a:gdLst>
                <a:gd name="connsiteX0" fmla="*/ 306658 w 304800"/>
                <a:gd name="connsiteY0" fmla="*/ 0 h 1171575"/>
                <a:gd name="connsiteX1" fmla="*/ 48435 w 304800"/>
                <a:gd name="connsiteY1" fmla="*/ 148590 h 1171575"/>
                <a:gd name="connsiteX2" fmla="*/ 7191 w 304800"/>
                <a:gd name="connsiteY2" fmla="*/ 295370 h 1171575"/>
                <a:gd name="connsiteX3" fmla="*/ 306658 w 304800"/>
                <a:gd name="connsiteY3" fmla="*/ 1175575 h 1171575"/>
                <a:gd name="connsiteX4" fmla="*/ 306658 w 304800"/>
                <a:gd name="connsiteY4" fmla="*/ 0 h 1171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800" h="1171575">
                  <a:moveTo>
                    <a:pt x="306658" y="0"/>
                  </a:moveTo>
                  <a:cubicBezTo>
                    <a:pt x="306658" y="0"/>
                    <a:pt x="194739" y="28003"/>
                    <a:pt x="48435" y="148590"/>
                  </a:cubicBezTo>
                  <a:cubicBezTo>
                    <a:pt x="5477" y="184023"/>
                    <a:pt x="-10716" y="242602"/>
                    <a:pt x="7191" y="295370"/>
                  </a:cubicBezTo>
                  <a:lnTo>
                    <a:pt x="306658" y="1175575"/>
                  </a:lnTo>
                  <a:lnTo>
                    <a:pt x="306658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A972A445-2FC5-424B-A123-D35FD38A2370}"/>
                </a:ext>
              </a:extLst>
            </p:cNvPr>
            <p:cNvSpPr/>
            <p:nvPr/>
          </p:nvSpPr>
          <p:spPr>
            <a:xfrm>
              <a:off x="10110483" y="2856733"/>
              <a:ext cx="431600" cy="1658961"/>
            </a:xfrm>
            <a:custGeom>
              <a:avLst/>
              <a:gdLst>
                <a:gd name="connsiteX0" fmla="*/ 0 w 304800"/>
                <a:gd name="connsiteY0" fmla="*/ 0 h 1171575"/>
                <a:gd name="connsiteX1" fmla="*/ 258223 w 304800"/>
                <a:gd name="connsiteY1" fmla="*/ 148590 h 1171575"/>
                <a:gd name="connsiteX2" fmla="*/ 299466 w 304800"/>
                <a:gd name="connsiteY2" fmla="*/ 295370 h 1171575"/>
                <a:gd name="connsiteX3" fmla="*/ 0 w 304800"/>
                <a:gd name="connsiteY3" fmla="*/ 1175575 h 1171575"/>
                <a:gd name="connsiteX4" fmla="*/ 0 w 304800"/>
                <a:gd name="connsiteY4" fmla="*/ 0 h 1171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800" h="1171575">
                  <a:moveTo>
                    <a:pt x="0" y="0"/>
                  </a:moveTo>
                  <a:cubicBezTo>
                    <a:pt x="0" y="0"/>
                    <a:pt x="111919" y="28003"/>
                    <a:pt x="258223" y="148590"/>
                  </a:cubicBezTo>
                  <a:cubicBezTo>
                    <a:pt x="301180" y="184023"/>
                    <a:pt x="317373" y="242602"/>
                    <a:pt x="299466" y="295370"/>
                  </a:cubicBezTo>
                  <a:lnTo>
                    <a:pt x="0" y="11755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7CA25168-5E1D-4481-AB2F-F45735452078}"/>
                </a:ext>
              </a:extLst>
            </p:cNvPr>
            <p:cNvSpPr/>
            <p:nvPr/>
          </p:nvSpPr>
          <p:spPr>
            <a:xfrm>
              <a:off x="9452450" y="4339436"/>
              <a:ext cx="1105974" cy="1497112"/>
            </a:xfrm>
            <a:custGeom>
              <a:avLst/>
              <a:gdLst>
                <a:gd name="connsiteX0" fmla="*/ 721598 w 781050"/>
                <a:gd name="connsiteY0" fmla="*/ 998585 h 1057275"/>
                <a:gd name="connsiteX1" fmla="*/ 177054 w 781050"/>
                <a:gd name="connsiteY1" fmla="*/ 1058402 h 1057275"/>
                <a:gd name="connsiteX2" fmla="*/ 93520 w 781050"/>
                <a:gd name="connsiteY2" fmla="*/ 991441 h 1057275"/>
                <a:gd name="connsiteX3" fmla="*/ 460 w 781050"/>
                <a:gd name="connsiteY3" fmla="*/ 143812 h 1057275"/>
                <a:gd name="connsiteX4" fmla="*/ 67421 w 781050"/>
                <a:gd name="connsiteY4" fmla="*/ 60277 h 1057275"/>
                <a:gd name="connsiteX5" fmla="*/ 611965 w 781050"/>
                <a:gd name="connsiteY5" fmla="*/ 460 h 1057275"/>
                <a:gd name="connsiteX6" fmla="*/ 695500 w 781050"/>
                <a:gd name="connsiteY6" fmla="*/ 67421 h 1057275"/>
                <a:gd name="connsiteX7" fmla="*/ 788559 w 781050"/>
                <a:gd name="connsiteY7" fmla="*/ 915051 h 1057275"/>
                <a:gd name="connsiteX8" fmla="*/ 721598 w 781050"/>
                <a:gd name="connsiteY8" fmla="*/ 998585 h 1057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1050" h="1057275">
                  <a:moveTo>
                    <a:pt x="721598" y="998585"/>
                  </a:moveTo>
                  <a:lnTo>
                    <a:pt x="177054" y="1058402"/>
                  </a:lnTo>
                  <a:cubicBezTo>
                    <a:pt x="135525" y="1062974"/>
                    <a:pt x="98092" y="1032970"/>
                    <a:pt x="93520" y="991441"/>
                  </a:cubicBezTo>
                  <a:lnTo>
                    <a:pt x="460" y="143812"/>
                  </a:lnTo>
                  <a:cubicBezTo>
                    <a:pt x="-4112" y="102282"/>
                    <a:pt x="25892" y="64849"/>
                    <a:pt x="67421" y="60277"/>
                  </a:cubicBezTo>
                  <a:lnTo>
                    <a:pt x="611965" y="460"/>
                  </a:lnTo>
                  <a:cubicBezTo>
                    <a:pt x="653494" y="-4112"/>
                    <a:pt x="690928" y="25892"/>
                    <a:pt x="695500" y="67421"/>
                  </a:cubicBezTo>
                  <a:lnTo>
                    <a:pt x="788559" y="915051"/>
                  </a:lnTo>
                  <a:cubicBezTo>
                    <a:pt x="793131" y="956580"/>
                    <a:pt x="763127" y="994013"/>
                    <a:pt x="721598" y="998585"/>
                  </a:cubicBezTo>
                  <a:close/>
                </a:path>
              </a:pathLst>
            </a:custGeom>
            <a:solidFill>
              <a:srgbClr val="2D406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AC3D4B93-07B5-4C51-B046-207B15BF1782}"/>
                </a:ext>
              </a:extLst>
            </p:cNvPr>
            <p:cNvSpPr/>
            <p:nvPr/>
          </p:nvSpPr>
          <p:spPr>
            <a:xfrm>
              <a:off x="9660986" y="4275254"/>
              <a:ext cx="539500" cy="161850"/>
            </a:xfrm>
            <a:custGeom>
              <a:avLst/>
              <a:gdLst>
                <a:gd name="connsiteX0" fmla="*/ 387067 w 381000"/>
                <a:gd name="connsiteY0" fmla="*/ 78838 h 114300"/>
                <a:gd name="connsiteX1" fmla="*/ 3210 w 381000"/>
                <a:gd name="connsiteY1" fmla="*/ 120939 h 114300"/>
                <a:gd name="connsiteX2" fmla="*/ 352 w 381000"/>
                <a:gd name="connsiteY2" fmla="*/ 94649 h 114300"/>
                <a:gd name="connsiteX3" fmla="*/ 52549 w 381000"/>
                <a:gd name="connsiteY3" fmla="*/ 29594 h 114300"/>
                <a:gd name="connsiteX4" fmla="*/ 319249 w 381000"/>
                <a:gd name="connsiteY4" fmla="*/ 352 h 114300"/>
                <a:gd name="connsiteX5" fmla="*/ 384305 w 381000"/>
                <a:gd name="connsiteY5" fmla="*/ 52549 h 114300"/>
                <a:gd name="connsiteX6" fmla="*/ 387067 w 381000"/>
                <a:gd name="connsiteY6" fmla="*/ 78838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1000" h="114300">
                  <a:moveTo>
                    <a:pt x="387067" y="78838"/>
                  </a:moveTo>
                  <a:lnTo>
                    <a:pt x="3210" y="120939"/>
                  </a:lnTo>
                  <a:lnTo>
                    <a:pt x="352" y="94649"/>
                  </a:lnTo>
                  <a:cubicBezTo>
                    <a:pt x="-3172" y="62264"/>
                    <a:pt x="20164" y="33213"/>
                    <a:pt x="52549" y="29594"/>
                  </a:cubicBezTo>
                  <a:lnTo>
                    <a:pt x="319249" y="352"/>
                  </a:lnTo>
                  <a:cubicBezTo>
                    <a:pt x="351634" y="-3172"/>
                    <a:pt x="380685" y="20164"/>
                    <a:pt x="384305" y="52549"/>
                  </a:cubicBezTo>
                  <a:lnTo>
                    <a:pt x="387067" y="78838"/>
                  </a:lnTo>
                  <a:close/>
                </a:path>
              </a:pathLst>
            </a:custGeom>
            <a:solidFill>
              <a:srgbClr val="08B68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506FD287-32D2-4755-AA8D-B382AB9A9AC3}"/>
                </a:ext>
              </a:extLst>
            </p:cNvPr>
            <p:cNvSpPr/>
            <p:nvPr/>
          </p:nvSpPr>
          <p:spPr>
            <a:xfrm>
              <a:off x="9374370" y="5122767"/>
              <a:ext cx="269750" cy="526012"/>
            </a:xfrm>
            <a:custGeom>
              <a:avLst/>
              <a:gdLst>
                <a:gd name="connsiteX0" fmla="*/ 175236 w 190500"/>
                <a:gd name="connsiteY0" fmla="*/ 375190 h 371475"/>
                <a:gd name="connsiteX1" fmla="*/ 29027 w 190500"/>
                <a:gd name="connsiteY1" fmla="*/ 288512 h 371475"/>
                <a:gd name="connsiteX2" fmla="*/ 18264 w 190500"/>
                <a:gd name="connsiteY2" fmla="*/ 259652 h 371475"/>
                <a:gd name="connsiteX3" fmla="*/ 9024 w 190500"/>
                <a:gd name="connsiteY3" fmla="*/ 48959 h 371475"/>
                <a:gd name="connsiteX4" fmla="*/ 61507 w 190500"/>
                <a:gd name="connsiteY4" fmla="*/ 0 h 371475"/>
                <a:gd name="connsiteX5" fmla="*/ 104560 w 190500"/>
                <a:gd name="connsiteY5" fmla="*/ 39529 h 371475"/>
                <a:gd name="connsiteX6" fmla="*/ 182094 w 190500"/>
                <a:gd name="connsiteY6" fmla="*/ 89821 h 371475"/>
                <a:gd name="connsiteX7" fmla="*/ 191714 w 190500"/>
                <a:gd name="connsiteY7" fmla="*/ 371666 h 371475"/>
                <a:gd name="connsiteX8" fmla="*/ 175236 w 190500"/>
                <a:gd name="connsiteY8" fmla="*/ 37519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0500" h="371475">
                  <a:moveTo>
                    <a:pt x="175236" y="375190"/>
                  </a:moveTo>
                  <a:cubicBezTo>
                    <a:pt x="119038" y="340805"/>
                    <a:pt x="72270" y="338233"/>
                    <a:pt x="29027" y="288512"/>
                  </a:cubicBezTo>
                  <a:cubicBezTo>
                    <a:pt x="22264" y="280702"/>
                    <a:pt x="20264" y="269748"/>
                    <a:pt x="18264" y="259652"/>
                  </a:cubicBezTo>
                  <a:cubicBezTo>
                    <a:pt x="4262" y="190119"/>
                    <a:pt x="-9645" y="117443"/>
                    <a:pt x="9024" y="48959"/>
                  </a:cubicBezTo>
                  <a:cubicBezTo>
                    <a:pt x="15216" y="26289"/>
                    <a:pt x="38266" y="3905"/>
                    <a:pt x="61507" y="0"/>
                  </a:cubicBezTo>
                  <a:cubicBezTo>
                    <a:pt x="75890" y="12192"/>
                    <a:pt x="94368" y="23717"/>
                    <a:pt x="104560" y="39529"/>
                  </a:cubicBezTo>
                  <a:cubicBezTo>
                    <a:pt x="104941" y="44101"/>
                    <a:pt x="184761" y="95250"/>
                    <a:pt x="182094" y="89821"/>
                  </a:cubicBezTo>
                  <a:cubicBezTo>
                    <a:pt x="176188" y="78200"/>
                    <a:pt x="190761" y="263462"/>
                    <a:pt x="191714" y="371666"/>
                  </a:cubicBezTo>
                  <a:cubicBezTo>
                    <a:pt x="185523" y="372428"/>
                    <a:pt x="181427" y="374333"/>
                    <a:pt x="175236" y="375190"/>
                  </a:cubicBezTo>
                  <a:close/>
                </a:path>
              </a:pathLst>
            </a:custGeom>
            <a:solidFill>
              <a:srgbClr val="FFA1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DA7256B7-8390-4ACA-8FA7-E0FE8D0287F8}"/>
                </a:ext>
              </a:extLst>
            </p:cNvPr>
            <p:cNvSpPr/>
            <p:nvPr/>
          </p:nvSpPr>
          <p:spPr>
            <a:xfrm>
              <a:off x="9469152" y="2984055"/>
              <a:ext cx="1780349" cy="2832373"/>
            </a:xfrm>
            <a:custGeom>
              <a:avLst/>
              <a:gdLst>
                <a:gd name="connsiteX0" fmla="*/ 54578 w 1257300"/>
                <a:gd name="connsiteY0" fmla="*/ 1544955 h 2000250"/>
                <a:gd name="connsiteX1" fmla="*/ 0 w 1257300"/>
                <a:gd name="connsiteY1" fmla="*/ 1898237 h 2000250"/>
                <a:gd name="connsiteX2" fmla="*/ 1243013 w 1257300"/>
                <a:gd name="connsiteY2" fmla="*/ 1747266 h 2000250"/>
                <a:gd name="connsiteX3" fmla="*/ 989267 w 1257300"/>
                <a:gd name="connsiteY3" fmla="*/ 138113 h 2000250"/>
                <a:gd name="connsiteX4" fmla="*/ 754761 w 1257300"/>
                <a:gd name="connsiteY4" fmla="*/ 0 h 2000250"/>
                <a:gd name="connsiteX5" fmla="*/ 860774 w 1257300"/>
                <a:gd name="connsiteY5" fmla="*/ 819055 h 2000250"/>
                <a:gd name="connsiteX6" fmla="*/ 844677 w 1257300"/>
                <a:gd name="connsiteY6" fmla="*/ 1403604 h 2000250"/>
                <a:gd name="connsiteX7" fmla="*/ 54578 w 1257300"/>
                <a:gd name="connsiteY7" fmla="*/ 1544955 h 2000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7300" h="2000250">
                  <a:moveTo>
                    <a:pt x="54578" y="1544955"/>
                  </a:moveTo>
                  <a:lnTo>
                    <a:pt x="0" y="1898237"/>
                  </a:lnTo>
                  <a:cubicBezTo>
                    <a:pt x="0" y="1898237"/>
                    <a:pt x="635984" y="2213039"/>
                    <a:pt x="1243013" y="1747266"/>
                  </a:cubicBezTo>
                  <a:cubicBezTo>
                    <a:pt x="1349502" y="1665637"/>
                    <a:pt x="1025271" y="210026"/>
                    <a:pt x="989267" y="138113"/>
                  </a:cubicBezTo>
                  <a:cubicBezTo>
                    <a:pt x="944309" y="48197"/>
                    <a:pt x="828675" y="3239"/>
                    <a:pt x="754761" y="0"/>
                  </a:cubicBezTo>
                  <a:lnTo>
                    <a:pt x="860774" y="819055"/>
                  </a:lnTo>
                  <a:cubicBezTo>
                    <a:pt x="860774" y="819055"/>
                    <a:pt x="854107" y="1396937"/>
                    <a:pt x="844677" y="1403604"/>
                  </a:cubicBezTo>
                  <a:cubicBezTo>
                    <a:pt x="777240" y="1451801"/>
                    <a:pt x="594170" y="1573816"/>
                    <a:pt x="54578" y="1544955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D726C75D-E90B-44ED-B375-E78B75C2FE6A}"/>
                </a:ext>
              </a:extLst>
            </p:cNvPr>
            <p:cNvSpPr/>
            <p:nvPr/>
          </p:nvSpPr>
          <p:spPr>
            <a:xfrm>
              <a:off x="9282866" y="893422"/>
              <a:ext cx="1402699" cy="1766861"/>
            </a:xfrm>
            <a:custGeom>
              <a:avLst/>
              <a:gdLst>
                <a:gd name="connsiteX0" fmla="*/ 940992 w 990600"/>
                <a:gd name="connsiteY0" fmla="*/ 917118 h 1247775"/>
                <a:gd name="connsiteX1" fmla="*/ 816024 w 990600"/>
                <a:gd name="connsiteY1" fmla="*/ 851491 h 1247775"/>
                <a:gd name="connsiteX2" fmla="*/ 854981 w 990600"/>
                <a:gd name="connsiteY2" fmla="*/ 275990 h 1247775"/>
                <a:gd name="connsiteX3" fmla="*/ 804308 w 990600"/>
                <a:gd name="connsiteY3" fmla="*/ 207315 h 1247775"/>
                <a:gd name="connsiteX4" fmla="*/ 730966 w 990600"/>
                <a:gd name="connsiteY4" fmla="*/ 166358 h 1247775"/>
                <a:gd name="connsiteX5" fmla="*/ 481316 w 990600"/>
                <a:gd name="connsiteY5" fmla="*/ 10814 h 1247775"/>
                <a:gd name="connsiteX6" fmla="*/ 420070 w 990600"/>
                <a:gd name="connsiteY6" fmla="*/ 337 h 1247775"/>
                <a:gd name="connsiteX7" fmla="*/ 246620 w 990600"/>
                <a:gd name="connsiteY7" fmla="*/ 23387 h 1247775"/>
                <a:gd name="connsiteX8" fmla="*/ 120604 w 990600"/>
                <a:gd name="connsiteY8" fmla="*/ 83966 h 1247775"/>
                <a:gd name="connsiteX9" fmla="*/ 54881 w 990600"/>
                <a:gd name="connsiteY9" fmla="*/ 192456 h 1247775"/>
                <a:gd name="connsiteX10" fmla="*/ 17 w 990600"/>
                <a:gd name="connsiteY10" fmla="*/ 477349 h 1247775"/>
                <a:gd name="connsiteX11" fmla="*/ 74693 w 990600"/>
                <a:gd name="connsiteY11" fmla="*/ 883685 h 1247775"/>
                <a:gd name="connsiteX12" fmla="*/ 205281 w 990600"/>
                <a:gd name="connsiteY12" fmla="*/ 1096950 h 1247775"/>
                <a:gd name="connsiteX13" fmla="*/ 601807 w 990600"/>
                <a:gd name="connsiteY13" fmla="*/ 1110761 h 1247775"/>
                <a:gd name="connsiteX14" fmla="*/ 678864 w 990600"/>
                <a:gd name="connsiteY14" fmla="*/ 1220394 h 1247775"/>
                <a:gd name="connsiteX15" fmla="*/ 837455 w 990600"/>
                <a:gd name="connsiteY15" fmla="*/ 1244302 h 1247775"/>
                <a:gd name="connsiteX16" fmla="*/ 940992 w 990600"/>
                <a:gd name="connsiteY16" fmla="*/ 917118 h 124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90600" h="1247775">
                  <a:moveTo>
                    <a:pt x="940992" y="917118"/>
                  </a:moveTo>
                  <a:cubicBezTo>
                    <a:pt x="909560" y="879875"/>
                    <a:pt x="863078" y="848443"/>
                    <a:pt x="816024" y="851491"/>
                  </a:cubicBezTo>
                  <a:cubicBezTo>
                    <a:pt x="919466" y="667277"/>
                    <a:pt x="962900" y="446297"/>
                    <a:pt x="854981" y="275990"/>
                  </a:cubicBezTo>
                  <a:cubicBezTo>
                    <a:pt x="839741" y="251892"/>
                    <a:pt x="824311" y="227603"/>
                    <a:pt x="804308" y="207315"/>
                  </a:cubicBezTo>
                  <a:cubicBezTo>
                    <a:pt x="784306" y="187027"/>
                    <a:pt x="759065" y="170739"/>
                    <a:pt x="730966" y="166358"/>
                  </a:cubicBezTo>
                  <a:cubicBezTo>
                    <a:pt x="656957" y="105302"/>
                    <a:pt x="569041" y="49772"/>
                    <a:pt x="481316" y="10814"/>
                  </a:cubicBezTo>
                  <a:cubicBezTo>
                    <a:pt x="461313" y="1956"/>
                    <a:pt x="441977" y="-1092"/>
                    <a:pt x="420070" y="337"/>
                  </a:cubicBezTo>
                  <a:cubicBezTo>
                    <a:pt x="361872" y="4242"/>
                    <a:pt x="303103" y="8338"/>
                    <a:pt x="246620" y="23387"/>
                  </a:cubicBezTo>
                  <a:cubicBezTo>
                    <a:pt x="202328" y="35198"/>
                    <a:pt x="156418" y="54725"/>
                    <a:pt x="120604" y="83966"/>
                  </a:cubicBezTo>
                  <a:cubicBezTo>
                    <a:pt x="88505" y="110160"/>
                    <a:pt x="70693" y="154166"/>
                    <a:pt x="54881" y="192456"/>
                  </a:cubicBezTo>
                  <a:cubicBezTo>
                    <a:pt x="17543" y="282372"/>
                    <a:pt x="684" y="380194"/>
                    <a:pt x="17" y="477349"/>
                  </a:cubicBezTo>
                  <a:cubicBezTo>
                    <a:pt x="-840" y="615652"/>
                    <a:pt x="30307" y="752621"/>
                    <a:pt x="74693" y="883685"/>
                  </a:cubicBezTo>
                  <a:cubicBezTo>
                    <a:pt x="101935" y="963886"/>
                    <a:pt x="137177" y="1046468"/>
                    <a:pt x="205281" y="1096950"/>
                  </a:cubicBezTo>
                  <a:cubicBezTo>
                    <a:pt x="303674" y="1169816"/>
                    <a:pt x="506747" y="1209059"/>
                    <a:pt x="601807" y="1110761"/>
                  </a:cubicBezTo>
                  <a:cubicBezTo>
                    <a:pt x="573613" y="1139908"/>
                    <a:pt x="660100" y="1210583"/>
                    <a:pt x="678864" y="1220394"/>
                  </a:cubicBezTo>
                  <a:cubicBezTo>
                    <a:pt x="727061" y="1245731"/>
                    <a:pt x="783925" y="1254684"/>
                    <a:pt x="837455" y="1244302"/>
                  </a:cubicBezTo>
                  <a:cubicBezTo>
                    <a:pt x="996046" y="1213346"/>
                    <a:pt x="1039481" y="1033704"/>
                    <a:pt x="940992" y="917118"/>
                  </a:cubicBez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1081CD65-40F9-4BFE-B560-0E199997FC21}"/>
                </a:ext>
              </a:extLst>
            </p:cNvPr>
            <p:cNvSpPr/>
            <p:nvPr/>
          </p:nvSpPr>
          <p:spPr>
            <a:xfrm>
              <a:off x="10293370" y="1116950"/>
              <a:ext cx="283237" cy="539500"/>
            </a:xfrm>
            <a:custGeom>
              <a:avLst/>
              <a:gdLst>
                <a:gd name="connsiteX0" fmla="*/ 7050 w 200025"/>
                <a:gd name="connsiteY0" fmla="*/ 12119 h 381000"/>
                <a:gd name="connsiteX1" fmla="*/ 169452 w 200025"/>
                <a:gd name="connsiteY1" fmla="*/ 168900 h 381000"/>
                <a:gd name="connsiteX2" fmla="*/ 175738 w 200025"/>
                <a:gd name="connsiteY2" fmla="*/ 381499 h 381000"/>
                <a:gd name="connsiteX3" fmla="*/ 184311 w 200025"/>
                <a:gd name="connsiteY3" fmla="*/ 383880 h 381000"/>
                <a:gd name="connsiteX4" fmla="*/ 164880 w 200025"/>
                <a:gd name="connsiteY4" fmla="*/ 120037 h 381000"/>
                <a:gd name="connsiteX5" fmla="*/ 4002 w 200025"/>
                <a:gd name="connsiteY5" fmla="*/ 1356 h 381000"/>
                <a:gd name="connsiteX6" fmla="*/ 7050 w 200025"/>
                <a:gd name="connsiteY6" fmla="*/ 12119 h 381000"/>
                <a:gd name="connsiteX7" fmla="*/ 7050 w 200025"/>
                <a:gd name="connsiteY7" fmla="*/ 12119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0025" h="381000">
                  <a:moveTo>
                    <a:pt x="7050" y="12119"/>
                  </a:moveTo>
                  <a:cubicBezTo>
                    <a:pt x="95728" y="-168"/>
                    <a:pt x="146973" y="98415"/>
                    <a:pt x="169452" y="168900"/>
                  </a:cubicBezTo>
                  <a:cubicBezTo>
                    <a:pt x="191931" y="239290"/>
                    <a:pt x="190311" y="309966"/>
                    <a:pt x="175738" y="381499"/>
                  </a:cubicBezTo>
                  <a:cubicBezTo>
                    <a:pt x="174595" y="387118"/>
                    <a:pt x="182501" y="389404"/>
                    <a:pt x="184311" y="383880"/>
                  </a:cubicBezTo>
                  <a:cubicBezTo>
                    <a:pt x="212600" y="297679"/>
                    <a:pt x="203551" y="201571"/>
                    <a:pt x="164880" y="120037"/>
                  </a:cubicBezTo>
                  <a:cubicBezTo>
                    <a:pt x="134495" y="55934"/>
                    <a:pt x="82584" y="-10360"/>
                    <a:pt x="4002" y="1356"/>
                  </a:cubicBezTo>
                  <a:cubicBezTo>
                    <a:pt x="-3046" y="2499"/>
                    <a:pt x="2" y="13167"/>
                    <a:pt x="7050" y="12119"/>
                  </a:cubicBezTo>
                  <a:lnTo>
                    <a:pt x="7050" y="12119"/>
                  </a:ln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121C844F-D79F-4B8D-84DC-95D0382462D4}"/>
                </a:ext>
              </a:extLst>
            </p:cNvPr>
            <p:cNvSpPr/>
            <p:nvPr/>
          </p:nvSpPr>
          <p:spPr>
            <a:xfrm>
              <a:off x="10102110" y="2412980"/>
              <a:ext cx="350675" cy="215800"/>
            </a:xfrm>
            <a:custGeom>
              <a:avLst/>
              <a:gdLst>
                <a:gd name="connsiteX0" fmla="*/ 22582 w 247650"/>
                <a:gd name="connsiteY0" fmla="*/ 1058 h 152400"/>
                <a:gd name="connsiteX1" fmla="*/ 58777 w 247650"/>
                <a:gd name="connsiteY1" fmla="*/ 146981 h 152400"/>
                <a:gd name="connsiteX2" fmla="*/ 251944 w 247650"/>
                <a:gd name="connsiteY2" fmla="*/ 99642 h 152400"/>
                <a:gd name="connsiteX3" fmla="*/ 248134 w 247650"/>
                <a:gd name="connsiteY3" fmla="*/ 94689 h 152400"/>
                <a:gd name="connsiteX4" fmla="*/ 104497 w 247650"/>
                <a:gd name="connsiteY4" fmla="*/ 145457 h 152400"/>
                <a:gd name="connsiteX5" fmla="*/ 28202 w 247650"/>
                <a:gd name="connsiteY5" fmla="*/ 5344 h 152400"/>
                <a:gd name="connsiteX6" fmla="*/ 22582 w 247650"/>
                <a:gd name="connsiteY6" fmla="*/ 1058 h 152400"/>
                <a:gd name="connsiteX7" fmla="*/ 22582 w 247650"/>
                <a:gd name="connsiteY7" fmla="*/ 1058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7650" h="152400">
                  <a:moveTo>
                    <a:pt x="22582" y="1058"/>
                  </a:moveTo>
                  <a:cubicBezTo>
                    <a:pt x="-22280" y="48112"/>
                    <a:pt x="4866" y="120883"/>
                    <a:pt x="58777" y="146981"/>
                  </a:cubicBezTo>
                  <a:cubicBezTo>
                    <a:pt x="122214" y="177652"/>
                    <a:pt x="207653" y="152125"/>
                    <a:pt x="251944" y="99642"/>
                  </a:cubicBezTo>
                  <a:cubicBezTo>
                    <a:pt x="254230" y="96975"/>
                    <a:pt x="251373" y="93070"/>
                    <a:pt x="248134" y="94689"/>
                  </a:cubicBezTo>
                  <a:cubicBezTo>
                    <a:pt x="201081" y="118978"/>
                    <a:pt x="161266" y="151363"/>
                    <a:pt x="104497" y="145457"/>
                  </a:cubicBezTo>
                  <a:cubicBezTo>
                    <a:pt x="33536" y="138123"/>
                    <a:pt x="-12279" y="69829"/>
                    <a:pt x="28202" y="5344"/>
                  </a:cubicBezTo>
                  <a:cubicBezTo>
                    <a:pt x="30393" y="1915"/>
                    <a:pt x="25440" y="-1895"/>
                    <a:pt x="22582" y="1058"/>
                  </a:cubicBezTo>
                  <a:lnTo>
                    <a:pt x="22582" y="1058"/>
                  </a:ln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531E0E9E-4E44-45C0-ADAC-72554D556B54}"/>
                </a:ext>
              </a:extLst>
            </p:cNvPr>
            <p:cNvSpPr/>
            <p:nvPr/>
          </p:nvSpPr>
          <p:spPr>
            <a:xfrm>
              <a:off x="9279138" y="1906942"/>
              <a:ext cx="229287" cy="229287"/>
            </a:xfrm>
            <a:custGeom>
              <a:avLst/>
              <a:gdLst>
                <a:gd name="connsiteX0" fmla="*/ 168861 w 161925"/>
                <a:gd name="connsiteY0" fmla="*/ 155545 h 161925"/>
                <a:gd name="connsiteX1" fmla="*/ 115617 w 161925"/>
                <a:gd name="connsiteY1" fmla="*/ 165356 h 161925"/>
                <a:gd name="connsiteX2" fmla="*/ 32177 w 161925"/>
                <a:gd name="connsiteY2" fmla="*/ 143924 h 161925"/>
                <a:gd name="connsiteX3" fmla="*/ 2841 w 161925"/>
                <a:gd name="connsiteY3" fmla="*/ 90775 h 161925"/>
                <a:gd name="connsiteX4" fmla="*/ 364 w 161925"/>
                <a:gd name="connsiteY4" fmla="*/ 61723 h 161925"/>
                <a:gd name="connsiteX5" fmla="*/ 36940 w 161925"/>
                <a:gd name="connsiteY5" fmla="*/ 9908 h 161925"/>
                <a:gd name="connsiteX6" fmla="*/ 143334 w 161925"/>
                <a:gd name="connsiteY6" fmla="*/ 31053 h 161925"/>
                <a:gd name="connsiteX7" fmla="*/ 168861 w 161925"/>
                <a:gd name="connsiteY7" fmla="*/ 155545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1925" h="161925">
                  <a:moveTo>
                    <a:pt x="168861" y="155545"/>
                  </a:moveTo>
                  <a:cubicBezTo>
                    <a:pt x="153050" y="164784"/>
                    <a:pt x="133904" y="165451"/>
                    <a:pt x="115617" y="165356"/>
                  </a:cubicBezTo>
                  <a:cubicBezTo>
                    <a:pt x="86279" y="165165"/>
                    <a:pt x="54656" y="162784"/>
                    <a:pt x="32177" y="143924"/>
                  </a:cubicBezTo>
                  <a:cubicBezTo>
                    <a:pt x="16461" y="130685"/>
                    <a:pt x="7508" y="110777"/>
                    <a:pt x="2841" y="90775"/>
                  </a:cubicBezTo>
                  <a:cubicBezTo>
                    <a:pt x="650" y="81250"/>
                    <a:pt x="-684" y="71439"/>
                    <a:pt x="364" y="61723"/>
                  </a:cubicBezTo>
                  <a:cubicBezTo>
                    <a:pt x="2841" y="39911"/>
                    <a:pt x="17795" y="20575"/>
                    <a:pt x="36940" y="9908"/>
                  </a:cubicBezTo>
                  <a:cubicBezTo>
                    <a:pt x="71325" y="-9238"/>
                    <a:pt x="118855" y="192"/>
                    <a:pt x="143334" y="31053"/>
                  </a:cubicBezTo>
                  <a:cubicBezTo>
                    <a:pt x="146859" y="74868"/>
                    <a:pt x="157622" y="112968"/>
                    <a:pt x="168861" y="155545"/>
                  </a:cubicBezTo>
                  <a:close/>
                </a:path>
              </a:pathLst>
            </a:custGeom>
            <a:solidFill>
              <a:srgbClr val="F28B8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8EF4F1B4-25BF-491D-AD45-E4E3849BA5CF}"/>
                </a:ext>
              </a:extLst>
            </p:cNvPr>
            <p:cNvSpPr/>
            <p:nvPr/>
          </p:nvSpPr>
          <p:spPr>
            <a:xfrm>
              <a:off x="9277631" y="1960252"/>
              <a:ext cx="202312" cy="80925"/>
            </a:xfrm>
            <a:custGeom>
              <a:avLst/>
              <a:gdLst>
                <a:gd name="connsiteX0" fmla="*/ 0 w 142875"/>
                <a:gd name="connsiteY0" fmla="*/ 15312 h 57150"/>
                <a:gd name="connsiteX1" fmla="*/ 85534 w 142875"/>
                <a:gd name="connsiteY1" fmla="*/ 4930 h 57150"/>
                <a:gd name="connsiteX2" fmla="*/ 148209 w 142875"/>
                <a:gd name="connsiteY2" fmla="*/ 6408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2875" h="57150">
                  <a:moveTo>
                    <a:pt x="0" y="15312"/>
                  </a:moveTo>
                  <a:cubicBezTo>
                    <a:pt x="25146" y="-404"/>
                    <a:pt x="57341" y="-4309"/>
                    <a:pt x="85534" y="4930"/>
                  </a:cubicBezTo>
                  <a:cubicBezTo>
                    <a:pt x="113728" y="14169"/>
                    <a:pt x="137255" y="36458"/>
                    <a:pt x="148209" y="64080"/>
                  </a:cubicBezTo>
                </a:path>
              </a:pathLst>
            </a:custGeom>
            <a:noFill/>
            <a:ln w="9525" cap="flat">
              <a:solidFill>
                <a:srgbClr val="CC606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7F40031F-423A-496A-B70B-2EE79878B467}"/>
                </a:ext>
              </a:extLst>
            </p:cNvPr>
            <p:cNvSpPr/>
            <p:nvPr/>
          </p:nvSpPr>
          <p:spPr>
            <a:xfrm>
              <a:off x="10343951" y="1906942"/>
              <a:ext cx="229287" cy="229287"/>
            </a:xfrm>
            <a:custGeom>
              <a:avLst/>
              <a:gdLst>
                <a:gd name="connsiteX0" fmla="*/ 0 w 161925"/>
                <a:gd name="connsiteY0" fmla="*/ 155545 h 161925"/>
                <a:gd name="connsiteX1" fmla="*/ 53245 w 161925"/>
                <a:gd name="connsiteY1" fmla="*/ 165356 h 161925"/>
                <a:gd name="connsiteX2" fmla="*/ 136684 w 161925"/>
                <a:gd name="connsiteY2" fmla="*/ 143924 h 161925"/>
                <a:gd name="connsiteX3" fmla="*/ 166021 w 161925"/>
                <a:gd name="connsiteY3" fmla="*/ 90775 h 161925"/>
                <a:gd name="connsiteX4" fmla="*/ 168497 w 161925"/>
                <a:gd name="connsiteY4" fmla="*/ 61723 h 161925"/>
                <a:gd name="connsiteX5" fmla="*/ 131921 w 161925"/>
                <a:gd name="connsiteY5" fmla="*/ 9908 h 161925"/>
                <a:gd name="connsiteX6" fmla="*/ 25527 w 161925"/>
                <a:gd name="connsiteY6" fmla="*/ 31053 h 161925"/>
                <a:gd name="connsiteX7" fmla="*/ 0 w 161925"/>
                <a:gd name="connsiteY7" fmla="*/ 155545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1925" h="161925">
                  <a:moveTo>
                    <a:pt x="0" y="155545"/>
                  </a:moveTo>
                  <a:cubicBezTo>
                    <a:pt x="15812" y="164784"/>
                    <a:pt x="34957" y="165451"/>
                    <a:pt x="53245" y="165356"/>
                  </a:cubicBezTo>
                  <a:cubicBezTo>
                    <a:pt x="82582" y="165165"/>
                    <a:pt x="114205" y="162784"/>
                    <a:pt x="136684" y="143924"/>
                  </a:cubicBezTo>
                  <a:cubicBezTo>
                    <a:pt x="152400" y="130685"/>
                    <a:pt x="161354" y="110777"/>
                    <a:pt x="166021" y="90775"/>
                  </a:cubicBezTo>
                  <a:cubicBezTo>
                    <a:pt x="168212" y="81250"/>
                    <a:pt x="169545" y="71439"/>
                    <a:pt x="168497" y="61723"/>
                  </a:cubicBezTo>
                  <a:cubicBezTo>
                    <a:pt x="166021" y="39911"/>
                    <a:pt x="151067" y="20575"/>
                    <a:pt x="131921" y="9908"/>
                  </a:cubicBezTo>
                  <a:cubicBezTo>
                    <a:pt x="97536" y="-9238"/>
                    <a:pt x="50006" y="192"/>
                    <a:pt x="25527" y="31053"/>
                  </a:cubicBezTo>
                  <a:cubicBezTo>
                    <a:pt x="22003" y="74868"/>
                    <a:pt x="11240" y="112968"/>
                    <a:pt x="0" y="155545"/>
                  </a:cubicBezTo>
                  <a:close/>
                </a:path>
              </a:pathLst>
            </a:custGeom>
            <a:solidFill>
              <a:srgbClr val="F28B8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5C03CD59-10F2-4D3C-B23F-972016D601C4}"/>
                </a:ext>
              </a:extLst>
            </p:cNvPr>
            <p:cNvSpPr/>
            <p:nvPr/>
          </p:nvSpPr>
          <p:spPr>
            <a:xfrm>
              <a:off x="10374703" y="1960252"/>
              <a:ext cx="202312" cy="80925"/>
            </a:xfrm>
            <a:custGeom>
              <a:avLst/>
              <a:gdLst>
                <a:gd name="connsiteX0" fmla="*/ 148209 w 142875"/>
                <a:gd name="connsiteY0" fmla="*/ 15312 h 57150"/>
                <a:gd name="connsiteX1" fmla="*/ 62675 w 142875"/>
                <a:gd name="connsiteY1" fmla="*/ 4930 h 57150"/>
                <a:gd name="connsiteX2" fmla="*/ 0 w 142875"/>
                <a:gd name="connsiteY2" fmla="*/ 6408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2875" h="57150">
                  <a:moveTo>
                    <a:pt x="148209" y="15312"/>
                  </a:moveTo>
                  <a:cubicBezTo>
                    <a:pt x="123063" y="-404"/>
                    <a:pt x="90869" y="-4309"/>
                    <a:pt x="62675" y="4930"/>
                  </a:cubicBezTo>
                  <a:cubicBezTo>
                    <a:pt x="34480" y="14169"/>
                    <a:pt x="10954" y="36458"/>
                    <a:pt x="0" y="64080"/>
                  </a:cubicBezTo>
                </a:path>
              </a:pathLst>
            </a:custGeom>
            <a:noFill/>
            <a:ln w="9525" cap="flat">
              <a:solidFill>
                <a:srgbClr val="CC606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C3FBCB38-47EE-41E8-A2EA-B080B7FA812C}"/>
                </a:ext>
              </a:extLst>
            </p:cNvPr>
            <p:cNvSpPr/>
            <p:nvPr/>
          </p:nvSpPr>
          <p:spPr>
            <a:xfrm>
              <a:off x="9387057" y="1070661"/>
              <a:ext cx="1065512" cy="1497112"/>
            </a:xfrm>
            <a:custGeom>
              <a:avLst/>
              <a:gdLst>
                <a:gd name="connsiteX0" fmla="*/ 183897 w 752475"/>
                <a:gd name="connsiteY0" fmla="*/ 47762 h 1057275"/>
                <a:gd name="connsiteX1" fmla="*/ 1969 w 752475"/>
                <a:gd name="connsiteY1" fmla="*/ 500961 h 1057275"/>
                <a:gd name="connsiteX2" fmla="*/ 25115 w 752475"/>
                <a:gd name="connsiteY2" fmla="*/ 639836 h 1057275"/>
                <a:gd name="connsiteX3" fmla="*/ 388875 w 752475"/>
                <a:gd name="connsiteY3" fmla="*/ 1066270 h 1057275"/>
                <a:gd name="connsiteX4" fmla="*/ 743014 w 752475"/>
                <a:gd name="connsiteY4" fmla="*/ 618119 h 1057275"/>
                <a:gd name="connsiteX5" fmla="*/ 649098 w 752475"/>
                <a:gd name="connsiteY5" fmla="*/ 71193 h 1057275"/>
                <a:gd name="connsiteX6" fmla="*/ 256382 w 752475"/>
                <a:gd name="connsiteY6" fmla="*/ 3756 h 1057275"/>
                <a:gd name="connsiteX7" fmla="*/ 183897 w 752475"/>
                <a:gd name="connsiteY7" fmla="*/ 47762 h 1057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52475" h="1057275">
                  <a:moveTo>
                    <a:pt x="183897" y="47762"/>
                  </a:moveTo>
                  <a:cubicBezTo>
                    <a:pt x="53309" y="159681"/>
                    <a:pt x="-12509" y="329607"/>
                    <a:pt x="1969" y="500961"/>
                  </a:cubicBezTo>
                  <a:cubicBezTo>
                    <a:pt x="5589" y="543253"/>
                    <a:pt x="12637" y="589734"/>
                    <a:pt x="25115" y="639836"/>
                  </a:cubicBezTo>
                  <a:cubicBezTo>
                    <a:pt x="78074" y="854244"/>
                    <a:pt x="128747" y="1006072"/>
                    <a:pt x="388875" y="1066270"/>
                  </a:cubicBezTo>
                  <a:cubicBezTo>
                    <a:pt x="388875" y="1066270"/>
                    <a:pt x="694818" y="989213"/>
                    <a:pt x="743014" y="618119"/>
                  </a:cubicBezTo>
                  <a:cubicBezTo>
                    <a:pt x="791211" y="247120"/>
                    <a:pt x="675577" y="97768"/>
                    <a:pt x="649098" y="71193"/>
                  </a:cubicBezTo>
                  <a:cubicBezTo>
                    <a:pt x="622618" y="44714"/>
                    <a:pt x="340678" y="-15579"/>
                    <a:pt x="256382" y="3756"/>
                  </a:cubicBezTo>
                  <a:cubicBezTo>
                    <a:pt x="235237" y="8709"/>
                    <a:pt x="209995" y="25473"/>
                    <a:pt x="183897" y="47762"/>
                  </a:cubicBezTo>
                  <a:close/>
                </a:path>
              </a:pathLst>
            </a:custGeom>
            <a:solidFill>
              <a:srgbClr val="FFA1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9F906A6A-E01C-4BDB-AA81-7FFF90A807CD}"/>
                </a:ext>
              </a:extLst>
            </p:cNvPr>
            <p:cNvSpPr/>
            <p:nvPr/>
          </p:nvSpPr>
          <p:spPr>
            <a:xfrm>
              <a:off x="9330637" y="981976"/>
              <a:ext cx="1159924" cy="984587"/>
            </a:xfrm>
            <a:custGeom>
              <a:avLst/>
              <a:gdLst>
                <a:gd name="connsiteX0" fmla="*/ 64960 w 819150"/>
                <a:gd name="connsiteY0" fmla="*/ 702561 h 695325"/>
                <a:gd name="connsiteX1" fmla="*/ 71438 w 819150"/>
                <a:gd name="connsiteY1" fmla="*/ 458340 h 695325"/>
                <a:gd name="connsiteX2" fmla="*/ 366427 w 819150"/>
                <a:gd name="connsiteY2" fmla="*/ 220120 h 695325"/>
                <a:gd name="connsiteX3" fmla="*/ 674275 w 819150"/>
                <a:gd name="connsiteY3" fmla="*/ 165161 h 695325"/>
                <a:gd name="connsiteX4" fmla="*/ 782955 w 819150"/>
                <a:gd name="connsiteY4" fmla="*/ 680844 h 695325"/>
                <a:gd name="connsiteX5" fmla="*/ 828199 w 819150"/>
                <a:gd name="connsiteY5" fmla="*/ 485867 h 695325"/>
                <a:gd name="connsiteX6" fmla="*/ 751237 w 819150"/>
                <a:gd name="connsiteY6" fmla="*/ 163446 h 695325"/>
                <a:gd name="connsiteX7" fmla="*/ 370142 w 819150"/>
                <a:gd name="connsiteY7" fmla="*/ 4093 h 695325"/>
                <a:gd name="connsiteX8" fmla="*/ 71438 w 819150"/>
                <a:gd name="connsiteY8" fmla="*/ 187259 h 695325"/>
                <a:gd name="connsiteX9" fmla="*/ 0 w 819150"/>
                <a:gd name="connsiteY9" fmla="*/ 392427 h 695325"/>
                <a:gd name="connsiteX10" fmla="*/ 20193 w 819150"/>
                <a:gd name="connsiteY10" fmla="*/ 630647 h 695325"/>
                <a:gd name="connsiteX11" fmla="*/ 64960 w 819150"/>
                <a:gd name="connsiteY11" fmla="*/ 702561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19150" h="695325">
                  <a:moveTo>
                    <a:pt x="64960" y="702561"/>
                  </a:moveTo>
                  <a:cubicBezTo>
                    <a:pt x="64960" y="702561"/>
                    <a:pt x="71438" y="526158"/>
                    <a:pt x="71438" y="458340"/>
                  </a:cubicBezTo>
                  <a:cubicBezTo>
                    <a:pt x="71438" y="458340"/>
                    <a:pt x="186880" y="291653"/>
                    <a:pt x="366427" y="220120"/>
                  </a:cubicBezTo>
                  <a:cubicBezTo>
                    <a:pt x="545973" y="148587"/>
                    <a:pt x="670560" y="165161"/>
                    <a:pt x="674275" y="165161"/>
                  </a:cubicBezTo>
                  <a:cubicBezTo>
                    <a:pt x="677894" y="165161"/>
                    <a:pt x="724853" y="579022"/>
                    <a:pt x="782955" y="680844"/>
                  </a:cubicBezTo>
                  <a:cubicBezTo>
                    <a:pt x="782955" y="680844"/>
                    <a:pt x="822674" y="586642"/>
                    <a:pt x="828199" y="485867"/>
                  </a:cubicBezTo>
                  <a:cubicBezTo>
                    <a:pt x="833723" y="385093"/>
                    <a:pt x="786098" y="198212"/>
                    <a:pt x="751237" y="163446"/>
                  </a:cubicBezTo>
                  <a:cubicBezTo>
                    <a:pt x="716471" y="128680"/>
                    <a:pt x="544163" y="-27054"/>
                    <a:pt x="370142" y="4093"/>
                  </a:cubicBezTo>
                  <a:cubicBezTo>
                    <a:pt x="196120" y="35240"/>
                    <a:pt x="120872" y="110297"/>
                    <a:pt x="71438" y="187259"/>
                  </a:cubicBezTo>
                  <a:cubicBezTo>
                    <a:pt x="22003" y="264221"/>
                    <a:pt x="0" y="324704"/>
                    <a:pt x="0" y="392427"/>
                  </a:cubicBezTo>
                  <a:cubicBezTo>
                    <a:pt x="0" y="460245"/>
                    <a:pt x="3619" y="588452"/>
                    <a:pt x="20193" y="630647"/>
                  </a:cubicBezTo>
                  <a:cubicBezTo>
                    <a:pt x="36576" y="672748"/>
                    <a:pt x="64960" y="702561"/>
                    <a:pt x="64960" y="702561"/>
                  </a:cubicBez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A4A3A927-9C35-4CD4-AD1D-8CF83692DB85}"/>
                </a:ext>
              </a:extLst>
            </p:cNvPr>
            <p:cNvSpPr/>
            <p:nvPr/>
          </p:nvSpPr>
          <p:spPr>
            <a:xfrm>
              <a:off x="10283907" y="1190708"/>
              <a:ext cx="148362" cy="701350"/>
            </a:xfrm>
            <a:custGeom>
              <a:avLst/>
              <a:gdLst>
                <a:gd name="connsiteX0" fmla="*/ 3733 w 104775"/>
                <a:gd name="connsiteY0" fmla="*/ 1465 h 495300"/>
                <a:gd name="connsiteX1" fmla="*/ 20116 w 104775"/>
                <a:gd name="connsiteY1" fmla="*/ 259306 h 495300"/>
                <a:gd name="connsiteX2" fmla="*/ 102603 w 104775"/>
                <a:gd name="connsiteY2" fmla="*/ 503813 h 495300"/>
                <a:gd name="connsiteX3" fmla="*/ 106317 w 104775"/>
                <a:gd name="connsiteY3" fmla="*/ 502289 h 495300"/>
                <a:gd name="connsiteX4" fmla="*/ 29927 w 104775"/>
                <a:gd name="connsiteY4" fmla="*/ 265498 h 495300"/>
                <a:gd name="connsiteX5" fmla="*/ 6971 w 104775"/>
                <a:gd name="connsiteY5" fmla="*/ 1465 h 495300"/>
                <a:gd name="connsiteX6" fmla="*/ 3733 w 104775"/>
                <a:gd name="connsiteY6" fmla="*/ 1465 h 495300"/>
                <a:gd name="connsiteX7" fmla="*/ 3733 w 104775"/>
                <a:gd name="connsiteY7" fmla="*/ 1465 h 495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775" h="495300">
                  <a:moveTo>
                    <a:pt x="3733" y="1465"/>
                  </a:moveTo>
                  <a:cubicBezTo>
                    <a:pt x="-5697" y="86523"/>
                    <a:pt x="3828" y="175582"/>
                    <a:pt x="20116" y="259306"/>
                  </a:cubicBezTo>
                  <a:cubicBezTo>
                    <a:pt x="36023" y="341031"/>
                    <a:pt x="58121" y="432376"/>
                    <a:pt x="102603" y="503813"/>
                  </a:cubicBezTo>
                  <a:cubicBezTo>
                    <a:pt x="103745" y="505718"/>
                    <a:pt x="106984" y="504480"/>
                    <a:pt x="106317" y="502289"/>
                  </a:cubicBezTo>
                  <a:cubicBezTo>
                    <a:pt x="80981" y="422374"/>
                    <a:pt x="47167" y="348365"/>
                    <a:pt x="29927" y="265498"/>
                  </a:cubicBezTo>
                  <a:cubicBezTo>
                    <a:pt x="11543" y="177391"/>
                    <a:pt x="9448" y="90904"/>
                    <a:pt x="6971" y="1465"/>
                  </a:cubicBezTo>
                  <a:cubicBezTo>
                    <a:pt x="6781" y="-536"/>
                    <a:pt x="3923" y="-440"/>
                    <a:pt x="3733" y="1465"/>
                  </a:cubicBezTo>
                  <a:lnTo>
                    <a:pt x="3733" y="1465"/>
                  </a:ln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66F8D31D-02F7-4816-9D4D-CB000173F4B0}"/>
                </a:ext>
              </a:extLst>
            </p:cNvPr>
            <p:cNvSpPr/>
            <p:nvPr/>
          </p:nvSpPr>
          <p:spPr>
            <a:xfrm>
              <a:off x="9483913" y="1204031"/>
              <a:ext cx="795762" cy="404625"/>
            </a:xfrm>
            <a:custGeom>
              <a:avLst/>
              <a:gdLst>
                <a:gd name="connsiteX0" fmla="*/ 562315 w 561975"/>
                <a:gd name="connsiteY0" fmla="*/ 819 h 285750"/>
                <a:gd name="connsiteX1" fmla="*/ 244 w 561975"/>
                <a:gd name="connsiteY1" fmla="*/ 283902 h 285750"/>
                <a:gd name="connsiteX2" fmla="*/ 3197 w 561975"/>
                <a:gd name="connsiteY2" fmla="*/ 286188 h 285750"/>
                <a:gd name="connsiteX3" fmla="*/ 242561 w 561975"/>
                <a:gd name="connsiteY3" fmla="*/ 80924 h 285750"/>
                <a:gd name="connsiteX4" fmla="*/ 562315 w 561975"/>
                <a:gd name="connsiteY4" fmla="*/ 5676 h 285750"/>
                <a:gd name="connsiteX5" fmla="*/ 562315 w 561975"/>
                <a:gd name="connsiteY5" fmla="*/ 819 h 285750"/>
                <a:gd name="connsiteX6" fmla="*/ 562315 w 561975"/>
                <a:gd name="connsiteY6" fmla="*/ 819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1975" h="285750">
                  <a:moveTo>
                    <a:pt x="562315" y="819"/>
                  </a:moveTo>
                  <a:cubicBezTo>
                    <a:pt x="352670" y="-10707"/>
                    <a:pt x="109972" y="100260"/>
                    <a:pt x="244" y="283902"/>
                  </a:cubicBezTo>
                  <a:cubicBezTo>
                    <a:pt x="-803" y="285711"/>
                    <a:pt x="1768" y="287902"/>
                    <a:pt x="3197" y="286188"/>
                  </a:cubicBezTo>
                  <a:cubicBezTo>
                    <a:pt x="72730" y="203225"/>
                    <a:pt x="145120" y="131311"/>
                    <a:pt x="242561" y="80924"/>
                  </a:cubicBezTo>
                  <a:cubicBezTo>
                    <a:pt x="342478" y="29298"/>
                    <a:pt x="450491" y="7105"/>
                    <a:pt x="562315" y="5676"/>
                  </a:cubicBezTo>
                  <a:cubicBezTo>
                    <a:pt x="565553" y="5676"/>
                    <a:pt x="565458" y="1009"/>
                    <a:pt x="562315" y="819"/>
                  </a:cubicBezTo>
                  <a:lnTo>
                    <a:pt x="562315" y="819"/>
                  </a:ln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D569F89E-2A29-4C4B-B2F2-2363B26E78CE}"/>
                </a:ext>
              </a:extLst>
            </p:cNvPr>
            <p:cNvSpPr/>
            <p:nvPr/>
          </p:nvSpPr>
          <p:spPr>
            <a:xfrm>
              <a:off x="10158229" y="1438604"/>
              <a:ext cx="134875" cy="67437"/>
            </a:xfrm>
            <a:custGeom>
              <a:avLst/>
              <a:gdLst>
                <a:gd name="connsiteX0" fmla="*/ 13716 w 95250"/>
                <a:gd name="connsiteY0" fmla="*/ 28614 h 47625"/>
                <a:gd name="connsiteX1" fmla="*/ 75057 w 95250"/>
                <a:gd name="connsiteY1" fmla="*/ 48426 h 47625"/>
                <a:gd name="connsiteX2" fmla="*/ 89440 w 95250"/>
                <a:gd name="connsiteY2" fmla="*/ 23756 h 47625"/>
                <a:gd name="connsiteX3" fmla="*/ 13716 w 95250"/>
                <a:gd name="connsiteY3" fmla="*/ 39 h 47625"/>
                <a:gd name="connsiteX4" fmla="*/ 13716 w 95250"/>
                <a:gd name="connsiteY4" fmla="*/ 28614 h 47625"/>
                <a:gd name="connsiteX5" fmla="*/ 13716 w 95250"/>
                <a:gd name="connsiteY5" fmla="*/ 2861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250" h="47625">
                  <a:moveTo>
                    <a:pt x="13716" y="28614"/>
                  </a:moveTo>
                  <a:cubicBezTo>
                    <a:pt x="35814" y="30043"/>
                    <a:pt x="56198" y="36901"/>
                    <a:pt x="75057" y="48426"/>
                  </a:cubicBezTo>
                  <a:cubicBezTo>
                    <a:pt x="90773" y="58046"/>
                    <a:pt x="105156" y="33281"/>
                    <a:pt x="89440" y="23756"/>
                  </a:cubicBezTo>
                  <a:cubicBezTo>
                    <a:pt x="66199" y="9564"/>
                    <a:pt x="40767" y="1849"/>
                    <a:pt x="13716" y="39"/>
                  </a:cubicBezTo>
                  <a:cubicBezTo>
                    <a:pt x="-4572" y="-1199"/>
                    <a:pt x="-4572" y="27471"/>
                    <a:pt x="13716" y="28614"/>
                  </a:cubicBezTo>
                  <a:lnTo>
                    <a:pt x="13716" y="28614"/>
                  </a:ln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43E6F0D1-1173-4D7C-81EF-11664EED69A2}"/>
                </a:ext>
              </a:extLst>
            </p:cNvPr>
            <p:cNvSpPr/>
            <p:nvPr/>
          </p:nvSpPr>
          <p:spPr>
            <a:xfrm>
              <a:off x="9542207" y="1438604"/>
              <a:ext cx="134875" cy="67437"/>
            </a:xfrm>
            <a:custGeom>
              <a:avLst/>
              <a:gdLst>
                <a:gd name="connsiteX0" fmla="*/ 82520 w 95250"/>
                <a:gd name="connsiteY0" fmla="*/ 39 h 47625"/>
                <a:gd name="connsiteX1" fmla="*/ 6797 w 95250"/>
                <a:gd name="connsiteY1" fmla="*/ 23756 h 47625"/>
                <a:gd name="connsiteX2" fmla="*/ 21179 w 95250"/>
                <a:gd name="connsiteY2" fmla="*/ 48426 h 47625"/>
                <a:gd name="connsiteX3" fmla="*/ 82520 w 95250"/>
                <a:gd name="connsiteY3" fmla="*/ 28614 h 47625"/>
                <a:gd name="connsiteX4" fmla="*/ 82520 w 95250"/>
                <a:gd name="connsiteY4" fmla="*/ 39 h 47625"/>
                <a:gd name="connsiteX5" fmla="*/ 82520 w 95250"/>
                <a:gd name="connsiteY5" fmla="*/ 39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250" h="47625">
                  <a:moveTo>
                    <a:pt x="82520" y="39"/>
                  </a:moveTo>
                  <a:cubicBezTo>
                    <a:pt x="55469" y="1849"/>
                    <a:pt x="29942" y="9564"/>
                    <a:pt x="6797" y="23756"/>
                  </a:cubicBezTo>
                  <a:cubicBezTo>
                    <a:pt x="-8920" y="33281"/>
                    <a:pt x="5463" y="58046"/>
                    <a:pt x="21179" y="48426"/>
                  </a:cubicBezTo>
                  <a:cubicBezTo>
                    <a:pt x="40039" y="36901"/>
                    <a:pt x="60422" y="30138"/>
                    <a:pt x="82520" y="28614"/>
                  </a:cubicBezTo>
                  <a:cubicBezTo>
                    <a:pt x="100808" y="27471"/>
                    <a:pt x="100904" y="-1199"/>
                    <a:pt x="82520" y="39"/>
                  </a:cubicBezTo>
                  <a:lnTo>
                    <a:pt x="82520" y="39"/>
                  </a:ln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4990DC64-49BE-4670-AC37-327F1453080F}"/>
                </a:ext>
              </a:extLst>
            </p:cNvPr>
            <p:cNvSpPr/>
            <p:nvPr/>
          </p:nvSpPr>
          <p:spPr>
            <a:xfrm>
              <a:off x="9467854" y="1748066"/>
              <a:ext cx="903662" cy="229287"/>
            </a:xfrm>
            <a:custGeom>
              <a:avLst/>
              <a:gdLst>
                <a:gd name="connsiteX0" fmla="*/ 10157 w 638175"/>
                <a:gd name="connsiteY0" fmla="*/ 107249 h 161925"/>
                <a:gd name="connsiteX1" fmla="*/ 126267 w 638175"/>
                <a:gd name="connsiteY1" fmla="*/ 149254 h 161925"/>
                <a:gd name="connsiteX2" fmla="*/ 280000 w 638175"/>
                <a:gd name="connsiteY2" fmla="*/ 158779 h 161925"/>
                <a:gd name="connsiteX3" fmla="*/ 578990 w 638175"/>
                <a:gd name="connsiteY3" fmla="*/ 156874 h 161925"/>
                <a:gd name="connsiteX4" fmla="*/ 595849 w 638175"/>
                <a:gd name="connsiteY4" fmla="*/ 21333 h 161925"/>
                <a:gd name="connsiteX5" fmla="*/ 289049 w 638175"/>
                <a:gd name="connsiteY5" fmla="*/ 378 h 161925"/>
                <a:gd name="connsiteX6" fmla="*/ 143602 w 638175"/>
                <a:gd name="connsiteY6" fmla="*/ 5712 h 161925"/>
                <a:gd name="connsiteX7" fmla="*/ 10062 w 638175"/>
                <a:gd name="connsiteY7" fmla="*/ 52575 h 161925"/>
                <a:gd name="connsiteX8" fmla="*/ 10157 w 638175"/>
                <a:gd name="connsiteY8" fmla="*/ 107249 h 161925"/>
                <a:gd name="connsiteX9" fmla="*/ 10157 w 638175"/>
                <a:gd name="connsiteY9" fmla="*/ 107249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8175" h="161925">
                  <a:moveTo>
                    <a:pt x="10157" y="107249"/>
                  </a:moveTo>
                  <a:cubicBezTo>
                    <a:pt x="39970" y="139729"/>
                    <a:pt x="86166" y="142777"/>
                    <a:pt x="126267" y="149254"/>
                  </a:cubicBezTo>
                  <a:cubicBezTo>
                    <a:pt x="177225" y="157446"/>
                    <a:pt x="228565" y="158208"/>
                    <a:pt x="280000" y="158779"/>
                  </a:cubicBezTo>
                  <a:cubicBezTo>
                    <a:pt x="379441" y="159922"/>
                    <a:pt x="480025" y="169257"/>
                    <a:pt x="578990" y="156874"/>
                  </a:cubicBezTo>
                  <a:cubicBezTo>
                    <a:pt x="643474" y="148778"/>
                    <a:pt x="672144" y="37716"/>
                    <a:pt x="595849" y="21333"/>
                  </a:cubicBezTo>
                  <a:cubicBezTo>
                    <a:pt x="494979" y="-288"/>
                    <a:pt x="391443" y="1617"/>
                    <a:pt x="289049" y="378"/>
                  </a:cubicBezTo>
                  <a:cubicBezTo>
                    <a:pt x="240757" y="-193"/>
                    <a:pt x="191608" y="-1050"/>
                    <a:pt x="143602" y="5712"/>
                  </a:cubicBezTo>
                  <a:cubicBezTo>
                    <a:pt x="99692" y="11904"/>
                    <a:pt x="42066" y="15809"/>
                    <a:pt x="10062" y="52575"/>
                  </a:cubicBezTo>
                  <a:cubicBezTo>
                    <a:pt x="-3083" y="67625"/>
                    <a:pt x="-3654" y="92199"/>
                    <a:pt x="10157" y="107249"/>
                  </a:cubicBezTo>
                  <a:lnTo>
                    <a:pt x="10157" y="107249"/>
                  </a:lnTo>
                  <a:close/>
                </a:path>
              </a:pathLst>
            </a:custGeom>
            <a:solidFill>
              <a:srgbClr val="F28B8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094ECF9C-A78B-4DE3-B9E6-437ED16CD938}"/>
                </a:ext>
              </a:extLst>
            </p:cNvPr>
            <p:cNvSpPr/>
            <p:nvPr/>
          </p:nvSpPr>
          <p:spPr>
            <a:xfrm>
              <a:off x="9790964" y="1424767"/>
              <a:ext cx="121387" cy="606937"/>
            </a:xfrm>
            <a:custGeom>
              <a:avLst/>
              <a:gdLst>
                <a:gd name="connsiteX0" fmla="*/ 0 w 85725"/>
                <a:gd name="connsiteY0" fmla="*/ 0 h 428625"/>
                <a:gd name="connsiteX1" fmla="*/ 64484 w 85725"/>
                <a:gd name="connsiteY1" fmla="*/ 73914 h 428625"/>
                <a:gd name="connsiteX2" fmla="*/ 89249 w 85725"/>
                <a:gd name="connsiteY2" fmla="*/ 170116 h 428625"/>
                <a:gd name="connsiteX3" fmla="*/ 81534 w 85725"/>
                <a:gd name="connsiteY3" fmla="*/ 428911 h 428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725" h="428625">
                  <a:moveTo>
                    <a:pt x="0" y="0"/>
                  </a:moveTo>
                  <a:cubicBezTo>
                    <a:pt x="28956" y="16383"/>
                    <a:pt x="50578" y="43720"/>
                    <a:pt x="64484" y="73914"/>
                  </a:cubicBezTo>
                  <a:cubicBezTo>
                    <a:pt x="78391" y="104108"/>
                    <a:pt x="85154" y="137160"/>
                    <a:pt x="89249" y="170116"/>
                  </a:cubicBezTo>
                  <a:cubicBezTo>
                    <a:pt x="100013" y="256032"/>
                    <a:pt x="93917" y="343281"/>
                    <a:pt x="81534" y="428911"/>
                  </a:cubicBezTo>
                </a:path>
              </a:pathLst>
            </a:custGeom>
            <a:noFill/>
            <a:ln w="9525" cap="rnd">
              <a:solidFill>
                <a:srgbClr val="1C172B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318D53BC-F8AD-498D-A085-36BE55E74941}"/>
                </a:ext>
              </a:extLst>
            </p:cNvPr>
            <p:cNvSpPr/>
            <p:nvPr/>
          </p:nvSpPr>
          <p:spPr>
            <a:xfrm>
              <a:off x="9924626" y="2106425"/>
              <a:ext cx="161850" cy="80925"/>
            </a:xfrm>
            <a:custGeom>
              <a:avLst/>
              <a:gdLst>
                <a:gd name="connsiteX0" fmla="*/ 0 w 114300"/>
                <a:gd name="connsiteY0" fmla="*/ 64960 h 57150"/>
                <a:gd name="connsiteX1" fmla="*/ 68485 w 114300"/>
                <a:gd name="connsiteY1" fmla="*/ 51911 h 57150"/>
                <a:gd name="connsiteX2" fmla="*/ 115062 w 114300"/>
                <a:gd name="connsiteY2" fmla="*/ 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4300" h="57150">
                  <a:moveTo>
                    <a:pt x="0" y="64960"/>
                  </a:moveTo>
                  <a:cubicBezTo>
                    <a:pt x="23431" y="68199"/>
                    <a:pt x="47911" y="63532"/>
                    <a:pt x="68485" y="51911"/>
                  </a:cubicBezTo>
                  <a:cubicBezTo>
                    <a:pt x="89059" y="40291"/>
                    <a:pt x="105727" y="21717"/>
                    <a:pt x="115062" y="0"/>
                  </a:cubicBezTo>
                </a:path>
              </a:pathLst>
            </a:custGeom>
            <a:noFill/>
            <a:ln w="9525" cap="flat">
              <a:solidFill>
                <a:srgbClr val="1C172B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E368B896-2394-4F5E-A476-3E88C41753A9}"/>
                </a:ext>
              </a:extLst>
            </p:cNvPr>
            <p:cNvSpPr/>
            <p:nvPr/>
          </p:nvSpPr>
          <p:spPr>
            <a:xfrm>
              <a:off x="9549372" y="1627016"/>
              <a:ext cx="202312" cy="161850"/>
            </a:xfrm>
            <a:custGeom>
              <a:avLst/>
              <a:gdLst>
                <a:gd name="connsiteX0" fmla="*/ 144517 w 142875"/>
                <a:gd name="connsiteY0" fmla="*/ 71959 h 114300"/>
                <a:gd name="connsiteX1" fmla="*/ 75175 w 142875"/>
                <a:gd name="connsiteY1" fmla="*/ 1760 h 114300"/>
                <a:gd name="connsiteX2" fmla="*/ 22 w 142875"/>
                <a:gd name="connsiteY2" fmla="*/ 50909 h 114300"/>
                <a:gd name="connsiteX3" fmla="*/ 67269 w 142875"/>
                <a:gd name="connsiteY3" fmla="*/ 121584 h 114300"/>
                <a:gd name="connsiteX4" fmla="*/ 144517 w 142875"/>
                <a:gd name="connsiteY4" fmla="*/ 71959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875" h="114300">
                  <a:moveTo>
                    <a:pt x="144517" y="71959"/>
                  </a:moveTo>
                  <a:cubicBezTo>
                    <a:pt x="144517" y="71959"/>
                    <a:pt x="130420" y="12523"/>
                    <a:pt x="75175" y="1760"/>
                  </a:cubicBezTo>
                  <a:cubicBezTo>
                    <a:pt x="26311" y="-7765"/>
                    <a:pt x="975" y="23191"/>
                    <a:pt x="22" y="50909"/>
                  </a:cubicBezTo>
                  <a:cubicBezTo>
                    <a:pt x="-930" y="78627"/>
                    <a:pt x="28502" y="120918"/>
                    <a:pt x="67269" y="121584"/>
                  </a:cubicBezTo>
                  <a:cubicBezTo>
                    <a:pt x="106036" y="122251"/>
                    <a:pt x="135658" y="95676"/>
                    <a:pt x="144517" y="71959"/>
                  </a:cubicBezTo>
                  <a:close/>
                </a:path>
              </a:pathLst>
            </a:custGeom>
            <a:solidFill>
              <a:srgbClr val="FEFEF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52C47742-856A-4EEE-B16C-D98611E4C824}"/>
                </a:ext>
              </a:extLst>
            </p:cNvPr>
            <p:cNvSpPr/>
            <p:nvPr/>
          </p:nvSpPr>
          <p:spPr>
            <a:xfrm>
              <a:off x="9588536" y="1638400"/>
              <a:ext cx="134875" cy="134875"/>
            </a:xfrm>
            <a:custGeom>
              <a:avLst/>
              <a:gdLst>
                <a:gd name="connsiteX0" fmla="*/ 53037 w 95250"/>
                <a:gd name="connsiteY0" fmla="*/ 4943 h 95250"/>
                <a:gd name="connsiteX1" fmla="*/ 91246 w 95250"/>
                <a:gd name="connsiteY1" fmla="*/ 53037 h 95250"/>
                <a:gd name="connsiteX2" fmla="*/ 43152 w 95250"/>
                <a:gd name="connsiteY2" fmla="*/ 91246 h 95250"/>
                <a:gd name="connsiteX3" fmla="*/ 4943 w 95250"/>
                <a:gd name="connsiteY3" fmla="*/ 43152 h 95250"/>
                <a:gd name="connsiteX4" fmla="*/ 53037 w 95250"/>
                <a:gd name="connsiteY4" fmla="*/ 4943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53037" y="4943"/>
                  </a:moveTo>
                  <a:cubicBezTo>
                    <a:pt x="76869" y="7673"/>
                    <a:pt x="93976" y="29205"/>
                    <a:pt x="91246" y="53037"/>
                  </a:cubicBezTo>
                  <a:cubicBezTo>
                    <a:pt x="88516" y="76869"/>
                    <a:pt x="66984" y="93976"/>
                    <a:pt x="43152" y="91246"/>
                  </a:cubicBezTo>
                  <a:cubicBezTo>
                    <a:pt x="19320" y="88516"/>
                    <a:pt x="2213" y="66984"/>
                    <a:pt x="4943" y="43152"/>
                  </a:cubicBezTo>
                  <a:cubicBezTo>
                    <a:pt x="7673" y="19320"/>
                    <a:pt x="29205" y="2213"/>
                    <a:pt x="53037" y="4943"/>
                  </a:cubicBez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2" name="任意多边形: 形状 9791">
              <a:extLst>
                <a:ext uri="{FF2B5EF4-FFF2-40B4-BE49-F238E27FC236}">
                  <a16:creationId xmlns:a16="http://schemas.microsoft.com/office/drawing/2014/main" id="{CAF6A073-E3F8-4A93-A7EE-0DA44122B9EA}"/>
                </a:ext>
              </a:extLst>
            </p:cNvPr>
            <p:cNvSpPr/>
            <p:nvPr/>
          </p:nvSpPr>
          <p:spPr>
            <a:xfrm>
              <a:off x="9470244" y="1613064"/>
              <a:ext cx="296725" cy="107900"/>
            </a:xfrm>
            <a:custGeom>
              <a:avLst/>
              <a:gdLst>
                <a:gd name="connsiteX0" fmla="*/ 21137 w 209550"/>
                <a:gd name="connsiteY0" fmla="*/ 57619 h 76200"/>
                <a:gd name="connsiteX1" fmla="*/ 192111 w 209550"/>
                <a:gd name="connsiteY1" fmla="*/ 76573 h 76200"/>
                <a:gd name="connsiteX2" fmla="*/ 216781 w 209550"/>
                <a:gd name="connsiteY2" fmla="*/ 62191 h 76200"/>
                <a:gd name="connsiteX3" fmla="*/ 6755 w 209550"/>
                <a:gd name="connsiteY3" fmla="*/ 33044 h 76200"/>
                <a:gd name="connsiteX4" fmla="*/ 21137 w 209550"/>
                <a:gd name="connsiteY4" fmla="*/ 57619 h 76200"/>
                <a:gd name="connsiteX5" fmla="*/ 21137 w 209550"/>
                <a:gd name="connsiteY5" fmla="*/ 57619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76200">
                  <a:moveTo>
                    <a:pt x="21137" y="57619"/>
                  </a:moveTo>
                  <a:cubicBezTo>
                    <a:pt x="75144" y="23805"/>
                    <a:pt x="157726" y="5612"/>
                    <a:pt x="192111" y="76573"/>
                  </a:cubicBezTo>
                  <a:cubicBezTo>
                    <a:pt x="200112" y="93147"/>
                    <a:pt x="224782" y="78669"/>
                    <a:pt x="216781" y="62191"/>
                  </a:cubicBezTo>
                  <a:cubicBezTo>
                    <a:pt x="175823" y="-22391"/>
                    <a:pt x="73715" y="-8866"/>
                    <a:pt x="6755" y="33044"/>
                  </a:cubicBezTo>
                  <a:cubicBezTo>
                    <a:pt x="-8866" y="42664"/>
                    <a:pt x="5421" y="67429"/>
                    <a:pt x="21137" y="57619"/>
                  </a:cubicBezTo>
                  <a:lnTo>
                    <a:pt x="21137" y="57619"/>
                  </a:ln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3" name="任意多边形: 形状 9792">
              <a:extLst>
                <a:ext uri="{FF2B5EF4-FFF2-40B4-BE49-F238E27FC236}">
                  <a16:creationId xmlns:a16="http://schemas.microsoft.com/office/drawing/2014/main" id="{1ECAD237-6A15-493E-80D1-E9A1C7FDC612}"/>
                </a:ext>
              </a:extLst>
            </p:cNvPr>
            <p:cNvSpPr/>
            <p:nvPr/>
          </p:nvSpPr>
          <p:spPr>
            <a:xfrm>
              <a:off x="10073528" y="1627016"/>
              <a:ext cx="202312" cy="161850"/>
            </a:xfrm>
            <a:custGeom>
              <a:avLst/>
              <a:gdLst>
                <a:gd name="connsiteX0" fmla="*/ 0 w 142875"/>
                <a:gd name="connsiteY0" fmla="*/ 71959 h 114300"/>
                <a:gd name="connsiteX1" fmla="*/ 69342 w 142875"/>
                <a:gd name="connsiteY1" fmla="*/ 1760 h 114300"/>
                <a:gd name="connsiteX2" fmla="*/ 144494 w 142875"/>
                <a:gd name="connsiteY2" fmla="*/ 50909 h 114300"/>
                <a:gd name="connsiteX3" fmla="*/ 77248 w 142875"/>
                <a:gd name="connsiteY3" fmla="*/ 121584 h 114300"/>
                <a:gd name="connsiteX4" fmla="*/ 0 w 142875"/>
                <a:gd name="connsiteY4" fmla="*/ 71959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875" h="114300">
                  <a:moveTo>
                    <a:pt x="0" y="71959"/>
                  </a:moveTo>
                  <a:cubicBezTo>
                    <a:pt x="0" y="71959"/>
                    <a:pt x="14097" y="12523"/>
                    <a:pt x="69342" y="1760"/>
                  </a:cubicBezTo>
                  <a:cubicBezTo>
                    <a:pt x="118205" y="-7765"/>
                    <a:pt x="143542" y="23191"/>
                    <a:pt x="144494" y="50909"/>
                  </a:cubicBezTo>
                  <a:cubicBezTo>
                    <a:pt x="145447" y="78627"/>
                    <a:pt x="116015" y="120918"/>
                    <a:pt x="77248" y="121584"/>
                  </a:cubicBezTo>
                  <a:cubicBezTo>
                    <a:pt x="38481" y="122251"/>
                    <a:pt x="8953" y="95676"/>
                    <a:pt x="0" y="71959"/>
                  </a:cubicBezTo>
                  <a:close/>
                </a:path>
              </a:pathLst>
            </a:custGeom>
            <a:solidFill>
              <a:srgbClr val="FEFEF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4" name="任意多边形: 形状 9793">
              <a:extLst>
                <a:ext uri="{FF2B5EF4-FFF2-40B4-BE49-F238E27FC236}">
                  <a16:creationId xmlns:a16="http://schemas.microsoft.com/office/drawing/2014/main" id="{76BEF2C5-8308-4425-8A65-45F6A1A0CFA7}"/>
                </a:ext>
              </a:extLst>
            </p:cNvPr>
            <p:cNvSpPr/>
            <p:nvPr/>
          </p:nvSpPr>
          <p:spPr>
            <a:xfrm>
              <a:off x="10109576" y="1647078"/>
              <a:ext cx="121387" cy="121387"/>
            </a:xfrm>
            <a:custGeom>
              <a:avLst/>
              <a:gdLst>
                <a:gd name="connsiteX0" fmla="*/ 1307 w 85725"/>
                <a:gd name="connsiteY0" fmla="*/ 53980 h 85725"/>
                <a:gd name="connsiteX1" fmla="*/ 53980 w 85725"/>
                <a:gd name="connsiteY1" fmla="*/ 85603 h 85725"/>
                <a:gd name="connsiteX2" fmla="*/ 85603 w 85725"/>
                <a:gd name="connsiteY2" fmla="*/ 32930 h 85725"/>
                <a:gd name="connsiteX3" fmla="*/ 32930 w 85725"/>
                <a:gd name="connsiteY3" fmla="*/ 1307 h 85725"/>
                <a:gd name="connsiteX4" fmla="*/ 1307 w 85725"/>
                <a:gd name="connsiteY4" fmla="*/ 53980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725" h="85725">
                  <a:moveTo>
                    <a:pt x="1307" y="53980"/>
                  </a:moveTo>
                  <a:cubicBezTo>
                    <a:pt x="7117" y="77317"/>
                    <a:pt x="30739" y="91414"/>
                    <a:pt x="53980" y="85603"/>
                  </a:cubicBezTo>
                  <a:cubicBezTo>
                    <a:pt x="77317" y="79793"/>
                    <a:pt x="91414" y="56171"/>
                    <a:pt x="85603" y="32930"/>
                  </a:cubicBezTo>
                  <a:cubicBezTo>
                    <a:pt x="79793" y="9594"/>
                    <a:pt x="56171" y="-4503"/>
                    <a:pt x="32930" y="1307"/>
                  </a:cubicBezTo>
                  <a:cubicBezTo>
                    <a:pt x="9594" y="7117"/>
                    <a:pt x="-4503" y="30739"/>
                    <a:pt x="1307" y="53980"/>
                  </a:cubicBez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5" name="任意多边形: 形状 9794">
              <a:extLst>
                <a:ext uri="{FF2B5EF4-FFF2-40B4-BE49-F238E27FC236}">
                  <a16:creationId xmlns:a16="http://schemas.microsoft.com/office/drawing/2014/main" id="{B23917A5-78A7-45F9-86EE-09141BBBFB08}"/>
                </a:ext>
              </a:extLst>
            </p:cNvPr>
            <p:cNvSpPr/>
            <p:nvPr/>
          </p:nvSpPr>
          <p:spPr>
            <a:xfrm>
              <a:off x="10048232" y="1612928"/>
              <a:ext cx="296725" cy="107900"/>
            </a:xfrm>
            <a:custGeom>
              <a:avLst/>
              <a:gdLst>
                <a:gd name="connsiteX0" fmla="*/ 211602 w 209550"/>
                <a:gd name="connsiteY0" fmla="*/ 33044 h 76200"/>
                <a:gd name="connsiteX1" fmla="*/ 1576 w 209550"/>
                <a:gd name="connsiteY1" fmla="*/ 62191 h 76200"/>
                <a:gd name="connsiteX2" fmla="*/ 26245 w 209550"/>
                <a:gd name="connsiteY2" fmla="*/ 76573 h 76200"/>
                <a:gd name="connsiteX3" fmla="*/ 197219 w 209550"/>
                <a:gd name="connsiteY3" fmla="*/ 57619 h 76200"/>
                <a:gd name="connsiteX4" fmla="*/ 211602 w 209550"/>
                <a:gd name="connsiteY4" fmla="*/ 33044 h 76200"/>
                <a:gd name="connsiteX5" fmla="*/ 211602 w 209550"/>
                <a:gd name="connsiteY5" fmla="*/ 33044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76200">
                  <a:moveTo>
                    <a:pt x="211602" y="33044"/>
                  </a:moveTo>
                  <a:cubicBezTo>
                    <a:pt x="144546" y="-8866"/>
                    <a:pt x="42533" y="-22391"/>
                    <a:pt x="1576" y="62191"/>
                  </a:cubicBezTo>
                  <a:cubicBezTo>
                    <a:pt x="-6425" y="78669"/>
                    <a:pt x="18244" y="93147"/>
                    <a:pt x="26245" y="76573"/>
                  </a:cubicBezTo>
                  <a:cubicBezTo>
                    <a:pt x="60440" y="5803"/>
                    <a:pt x="143117" y="23805"/>
                    <a:pt x="197219" y="57619"/>
                  </a:cubicBezTo>
                  <a:cubicBezTo>
                    <a:pt x="212840" y="67525"/>
                    <a:pt x="227223" y="42760"/>
                    <a:pt x="211602" y="33044"/>
                  </a:cubicBezTo>
                  <a:lnTo>
                    <a:pt x="211602" y="33044"/>
                  </a:ln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6" name="任意多边形: 形状 9795">
              <a:extLst>
                <a:ext uri="{FF2B5EF4-FFF2-40B4-BE49-F238E27FC236}">
                  <a16:creationId xmlns:a16="http://schemas.microsoft.com/office/drawing/2014/main" id="{C90E9E72-D719-421D-A773-B0301E504F9E}"/>
                </a:ext>
              </a:extLst>
            </p:cNvPr>
            <p:cNvSpPr/>
            <p:nvPr/>
          </p:nvSpPr>
          <p:spPr>
            <a:xfrm>
              <a:off x="9225300" y="1465161"/>
              <a:ext cx="1362237" cy="458575"/>
            </a:xfrm>
            <a:custGeom>
              <a:avLst/>
              <a:gdLst>
                <a:gd name="connsiteX0" fmla="*/ 925925 w 962025"/>
                <a:gd name="connsiteY0" fmla="*/ 33861 h 323850"/>
                <a:gd name="connsiteX1" fmla="*/ 879062 w 962025"/>
                <a:gd name="connsiteY1" fmla="*/ 20145 h 323850"/>
                <a:gd name="connsiteX2" fmla="*/ 779717 w 962025"/>
                <a:gd name="connsiteY2" fmla="*/ 1762 h 323850"/>
                <a:gd name="connsiteX3" fmla="*/ 768858 w 962025"/>
                <a:gd name="connsiteY3" fmla="*/ 429 h 323850"/>
                <a:gd name="connsiteX4" fmla="*/ 758190 w 962025"/>
                <a:gd name="connsiteY4" fmla="*/ 429 h 323850"/>
                <a:gd name="connsiteX5" fmla="*/ 716185 w 962025"/>
                <a:gd name="connsiteY5" fmla="*/ 429 h 323850"/>
                <a:gd name="connsiteX6" fmla="*/ 247460 w 962025"/>
                <a:gd name="connsiteY6" fmla="*/ 429 h 323850"/>
                <a:gd name="connsiteX7" fmla="*/ 222314 w 962025"/>
                <a:gd name="connsiteY7" fmla="*/ 429 h 323850"/>
                <a:gd name="connsiteX8" fmla="*/ 185547 w 962025"/>
                <a:gd name="connsiteY8" fmla="*/ 1667 h 323850"/>
                <a:gd name="connsiteX9" fmla="*/ 84582 w 962025"/>
                <a:gd name="connsiteY9" fmla="*/ 20145 h 323850"/>
                <a:gd name="connsiteX10" fmla="*/ 80010 w 962025"/>
                <a:gd name="connsiteY10" fmla="*/ 21479 h 323850"/>
                <a:gd name="connsiteX11" fmla="*/ 0 w 962025"/>
                <a:gd name="connsiteY11" fmla="*/ 128349 h 323850"/>
                <a:gd name="connsiteX12" fmla="*/ 0 w 962025"/>
                <a:gd name="connsiteY12" fmla="*/ 128349 h 323850"/>
                <a:gd name="connsiteX13" fmla="*/ 202597 w 962025"/>
                <a:gd name="connsiteY13" fmla="*/ 330946 h 323850"/>
                <a:gd name="connsiteX14" fmla="*/ 246697 w 962025"/>
                <a:gd name="connsiteY14" fmla="*/ 330946 h 323850"/>
                <a:gd name="connsiteX15" fmla="*/ 440722 w 962025"/>
                <a:gd name="connsiteY15" fmla="*/ 198739 h 323850"/>
                <a:gd name="connsiteX16" fmla="*/ 480251 w 962025"/>
                <a:gd name="connsiteY16" fmla="*/ 164544 h 323850"/>
                <a:gd name="connsiteX17" fmla="*/ 483489 w 962025"/>
                <a:gd name="connsiteY17" fmla="*/ 164544 h 323850"/>
                <a:gd name="connsiteX18" fmla="*/ 523018 w 962025"/>
                <a:gd name="connsiteY18" fmla="*/ 198739 h 323850"/>
                <a:gd name="connsiteX19" fmla="*/ 717042 w 962025"/>
                <a:gd name="connsiteY19" fmla="*/ 330946 h 323850"/>
                <a:gd name="connsiteX20" fmla="*/ 717042 w 962025"/>
                <a:gd name="connsiteY20" fmla="*/ 330946 h 323850"/>
                <a:gd name="connsiteX21" fmla="*/ 963740 w 962025"/>
                <a:gd name="connsiteY21" fmla="*/ 84249 h 323850"/>
                <a:gd name="connsiteX22" fmla="*/ 963740 w 962025"/>
                <a:gd name="connsiteY22" fmla="*/ 84249 h 323850"/>
                <a:gd name="connsiteX23" fmla="*/ 925925 w 962025"/>
                <a:gd name="connsiteY23" fmla="*/ 33861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962025" h="323850">
                  <a:moveTo>
                    <a:pt x="925925" y="33861"/>
                  </a:moveTo>
                  <a:lnTo>
                    <a:pt x="879062" y="20145"/>
                  </a:lnTo>
                  <a:cubicBezTo>
                    <a:pt x="846392" y="10620"/>
                    <a:pt x="813149" y="4524"/>
                    <a:pt x="779717" y="1762"/>
                  </a:cubicBezTo>
                  <a:cubicBezTo>
                    <a:pt x="777431" y="905"/>
                    <a:pt x="773906" y="429"/>
                    <a:pt x="768858" y="429"/>
                  </a:cubicBezTo>
                  <a:cubicBezTo>
                    <a:pt x="765905" y="429"/>
                    <a:pt x="762286" y="429"/>
                    <a:pt x="758190" y="429"/>
                  </a:cubicBezTo>
                  <a:cubicBezTo>
                    <a:pt x="744188" y="-143"/>
                    <a:pt x="730187" y="-143"/>
                    <a:pt x="716185" y="429"/>
                  </a:cubicBezTo>
                  <a:cubicBezTo>
                    <a:pt x="601504" y="429"/>
                    <a:pt x="361379" y="429"/>
                    <a:pt x="247460" y="429"/>
                  </a:cubicBezTo>
                  <a:cubicBezTo>
                    <a:pt x="233458" y="-143"/>
                    <a:pt x="236315" y="-143"/>
                    <a:pt x="222314" y="429"/>
                  </a:cubicBezTo>
                  <a:cubicBezTo>
                    <a:pt x="209169" y="429"/>
                    <a:pt x="185547" y="1667"/>
                    <a:pt x="185547" y="1667"/>
                  </a:cubicBezTo>
                  <a:cubicBezTo>
                    <a:pt x="151543" y="4429"/>
                    <a:pt x="117729" y="10430"/>
                    <a:pt x="84582" y="20145"/>
                  </a:cubicBezTo>
                  <a:lnTo>
                    <a:pt x="80010" y="21479"/>
                  </a:lnTo>
                  <a:cubicBezTo>
                    <a:pt x="36004" y="34338"/>
                    <a:pt x="0" y="82439"/>
                    <a:pt x="0" y="128349"/>
                  </a:cubicBezTo>
                  <a:lnTo>
                    <a:pt x="0" y="128349"/>
                  </a:lnTo>
                  <a:cubicBezTo>
                    <a:pt x="0" y="240268"/>
                    <a:pt x="90678" y="330946"/>
                    <a:pt x="202597" y="330946"/>
                  </a:cubicBezTo>
                  <a:lnTo>
                    <a:pt x="246697" y="330946"/>
                  </a:lnTo>
                  <a:cubicBezTo>
                    <a:pt x="343853" y="330946"/>
                    <a:pt x="424529" y="291227"/>
                    <a:pt x="440722" y="198739"/>
                  </a:cubicBezTo>
                  <a:cubicBezTo>
                    <a:pt x="444151" y="179213"/>
                    <a:pt x="460439" y="164544"/>
                    <a:pt x="480251" y="164544"/>
                  </a:cubicBezTo>
                  <a:lnTo>
                    <a:pt x="483489" y="164544"/>
                  </a:lnTo>
                  <a:cubicBezTo>
                    <a:pt x="503301" y="164544"/>
                    <a:pt x="519589" y="179213"/>
                    <a:pt x="523018" y="198739"/>
                  </a:cubicBezTo>
                  <a:cubicBezTo>
                    <a:pt x="539210" y="291227"/>
                    <a:pt x="619887" y="330946"/>
                    <a:pt x="717042" y="330946"/>
                  </a:cubicBezTo>
                  <a:lnTo>
                    <a:pt x="717042" y="330946"/>
                  </a:lnTo>
                  <a:cubicBezTo>
                    <a:pt x="853250" y="330946"/>
                    <a:pt x="963740" y="220551"/>
                    <a:pt x="963740" y="84249"/>
                  </a:cubicBezTo>
                  <a:lnTo>
                    <a:pt x="963740" y="84249"/>
                  </a:lnTo>
                  <a:cubicBezTo>
                    <a:pt x="963644" y="62627"/>
                    <a:pt x="946690" y="39957"/>
                    <a:pt x="925925" y="33861"/>
                  </a:cubicBezTo>
                  <a:close/>
                </a:path>
              </a:pathLst>
            </a:custGeom>
            <a:solidFill>
              <a:srgbClr val="FFFCF3">
                <a:alpha val="4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7" name="任意多边形: 形状 9796">
              <a:extLst>
                <a:ext uri="{FF2B5EF4-FFF2-40B4-BE49-F238E27FC236}">
                  <a16:creationId xmlns:a16="http://schemas.microsoft.com/office/drawing/2014/main" id="{732F2F89-1B04-43A9-B512-2CB074A1CBB2}"/>
                </a:ext>
              </a:extLst>
            </p:cNvPr>
            <p:cNvSpPr/>
            <p:nvPr/>
          </p:nvSpPr>
          <p:spPr>
            <a:xfrm>
              <a:off x="10513354" y="4143845"/>
              <a:ext cx="161850" cy="903662"/>
            </a:xfrm>
            <a:custGeom>
              <a:avLst/>
              <a:gdLst>
                <a:gd name="connsiteX0" fmla="*/ 123349 w 114300"/>
                <a:gd name="connsiteY0" fmla="*/ 0 h 638175"/>
                <a:gd name="connsiteX1" fmla="*/ 107252 w 114300"/>
                <a:gd name="connsiteY1" fmla="*/ 584549 h 638175"/>
                <a:gd name="connsiteX2" fmla="*/ 0 w 114300"/>
                <a:gd name="connsiteY2" fmla="*/ 645700 h 63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4300" h="638175">
                  <a:moveTo>
                    <a:pt x="123349" y="0"/>
                  </a:moveTo>
                  <a:cubicBezTo>
                    <a:pt x="123349" y="0"/>
                    <a:pt x="116681" y="577882"/>
                    <a:pt x="107252" y="584549"/>
                  </a:cubicBezTo>
                  <a:cubicBezTo>
                    <a:pt x="85820" y="599885"/>
                    <a:pt x="52673" y="622649"/>
                    <a:pt x="0" y="645700"/>
                  </a:cubicBezTo>
                </a:path>
              </a:pathLst>
            </a:custGeom>
            <a:noFill/>
            <a:ln w="12700" cap="flat">
              <a:solidFill>
                <a:srgbClr val="0052AC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4524885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86B8AC3D-0E18-4579-B017-882D144E7B88}"/>
              </a:ext>
            </a:extLst>
          </p:cNvPr>
          <p:cNvSpPr/>
          <p:nvPr userDrawn="1"/>
        </p:nvSpPr>
        <p:spPr>
          <a:xfrm>
            <a:off x="0" y="3553279"/>
            <a:ext cx="12192000" cy="32987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B087F815-2A15-4E05-AB0C-349010D04818}"/>
              </a:ext>
            </a:extLst>
          </p:cNvPr>
          <p:cNvGrpSpPr/>
          <p:nvPr userDrawn="1"/>
        </p:nvGrpSpPr>
        <p:grpSpPr>
          <a:xfrm>
            <a:off x="6094883" y="3925782"/>
            <a:ext cx="5729619" cy="2932667"/>
            <a:chOff x="3094835" y="3533040"/>
            <a:chExt cx="4865003" cy="2490143"/>
          </a:xfrm>
        </p:grpSpPr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05925006-86DB-421D-B758-A89BE5189BF5}"/>
                </a:ext>
              </a:extLst>
            </p:cNvPr>
            <p:cNvSpPr/>
            <p:nvPr/>
          </p:nvSpPr>
          <p:spPr>
            <a:xfrm>
              <a:off x="5073768" y="4330027"/>
              <a:ext cx="28575" cy="219077"/>
            </a:xfrm>
            <a:custGeom>
              <a:avLst/>
              <a:gdLst>
                <a:gd name="connsiteX0" fmla="*/ 0 w 28575"/>
                <a:gd name="connsiteY0" fmla="*/ 13787 h 219075"/>
                <a:gd name="connsiteX1" fmla="*/ 0 w 28575"/>
                <a:gd name="connsiteY1" fmla="*/ 213908 h 219075"/>
                <a:gd name="connsiteX2" fmla="*/ 28575 w 28575"/>
                <a:gd name="connsiteY2" fmla="*/ 213908 h 219075"/>
                <a:gd name="connsiteX3" fmla="*/ 28575 w 28575"/>
                <a:gd name="connsiteY3" fmla="*/ 13787 h 219075"/>
                <a:gd name="connsiteX4" fmla="*/ 0 w 28575"/>
                <a:gd name="connsiteY4" fmla="*/ 13787 h 219075"/>
                <a:gd name="connsiteX5" fmla="*/ 0 w 28575"/>
                <a:gd name="connsiteY5" fmla="*/ 13787 h 219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575" h="219075">
                  <a:moveTo>
                    <a:pt x="0" y="13787"/>
                  </a:moveTo>
                  <a:cubicBezTo>
                    <a:pt x="0" y="80462"/>
                    <a:pt x="0" y="147233"/>
                    <a:pt x="0" y="213908"/>
                  </a:cubicBezTo>
                  <a:cubicBezTo>
                    <a:pt x="0" y="232291"/>
                    <a:pt x="28575" y="232291"/>
                    <a:pt x="28575" y="213908"/>
                  </a:cubicBezTo>
                  <a:cubicBezTo>
                    <a:pt x="28575" y="147233"/>
                    <a:pt x="28575" y="80462"/>
                    <a:pt x="28575" y="13787"/>
                  </a:cubicBezTo>
                  <a:cubicBezTo>
                    <a:pt x="28575" y="-4596"/>
                    <a:pt x="0" y="-4596"/>
                    <a:pt x="0" y="13787"/>
                  </a:cubicBezTo>
                  <a:lnTo>
                    <a:pt x="0" y="13787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1CB7B8A5-2C16-4759-9E3F-B53136C684F3}"/>
                </a:ext>
              </a:extLst>
            </p:cNvPr>
            <p:cNvSpPr/>
            <p:nvPr/>
          </p:nvSpPr>
          <p:spPr>
            <a:xfrm>
              <a:off x="3643459" y="3613611"/>
              <a:ext cx="1781173" cy="1047758"/>
            </a:xfrm>
            <a:custGeom>
              <a:avLst/>
              <a:gdLst>
                <a:gd name="connsiteX0" fmla="*/ 27564 w 1781175"/>
                <a:gd name="connsiteY0" fmla="*/ 1054620 h 1047750"/>
                <a:gd name="connsiteX1" fmla="*/ 218254 w 1781175"/>
                <a:gd name="connsiteY1" fmla="*/ 330148 h 1047750"/>
                <a:gd name="connsiteX2" fmla="*/ 871098 w 1781175"/>
                <a:gd name="connsiteY2" fmla="*/ 15823 h 1047750"/>
                <a:gd name="connsiteX3" fmla="*/ 1549278 w 1781175"/>
                <a:gd name="connsiteY3" fmla="*/ 150412 h 1047750"/>
                <a:gd name="connsiteX4" fmla="*/ 1779402 w 1781175"/>
                <a:gd name="connsiteY4" fmla="*/ 772394 h 1047750"/>
                <a:gd name="connsiteX5" fmla="*/ 1697296 w 1781175"/>
                <a:gd name="connsiteY5" fmla="*/ 758773 h 1047750"/>
                <a:gd name="connsiteX6" fmla="*/ 1497176 w 1781175"/>
                <a:gd name="connsiteY6" fmla="*/ 215372 h 1047750"/>
                <a:gd name="connsiteX7" fmla="*/ 883957 w 1781175"/>
                <a:gd name="connsiteY7" fmla="*/ 98119 h 1047750"/>
                <a:gd name="connsiteX8" fmla="*/ 278738 w 1781175"/>
                <a:gd name="connsiteY8" fmla="*/ 387394 h 1047750"/>
                <a:gd name="connsiteX9" fmla="*/ 107098 w 1781175"/>
                <a:gd name="connsiteY9" fmla="*/ 1029855 h 1047750"/>
                <a:gd name="connsiteX10" fmla="*/ 27564 w 1781175"/>
                <a:gd name="connsiteY10" fmla="*/ 1054620 h 1047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81175" h="1047750">
                  <a:moveTo>
                    <a:pt x="27564" y="1054620"/>
                  </a:moveTo>
                  <a:cubicBezTo>
                    <a:pt x="-45874" y="819067"/>
                    <a:pt x="30707" y="527888"/>
                    <a:pt x="218254" y="330148"/>
                  </a:cubicBezTo>
                  <a:cubicBezTo>
                    <a:pt x="372750" y="167176"/>
                    <a:pt x="598493" y="58495"/>
                    <a:pt x="871098" y="15823"/>
                  </a:cubicBezTo>
                  <a:cubicBezTo>
                    <a:pt x="1066075" y="-14657"/>
                    <a:pt x="1342014" y="-15990"/>
                    <a:pt x="1549278" y="150412"/>
                  </a:cubicBezTo>
                  <a:cubicBezTo>
                    <a:pt x="1725205" y="291667"/>
                    <a:pt x="1817693" y="541604"/>
                    <a:pt x="1779402" y="772394"/>
                  </a:cubicBezTo>
                  <a:lnTo>
                    <a:pt x="1697296" y="758773"/>
                  </a:lnTo>
                  <a:cubicBezTo>
                    <a:pt x="1730825" y="556748"/>
                    <a:pt x="1650434" y="338435"/>
                    <a:pt x="1497176" y="215372"/>
                  </a:cubicBezTo>
                  <a:cubicBezTo>
                    <a:pt x="1313629" y="67925"/>
                    <a:pt x="1062360" y="70211"/>
                    <a:pt x="883957" y="98119"/>
                  </a:cubicBezTo>
                  <a:cubicBezTo>
                    <a:pt x="706696" y="125837"/>
                    <a:pt x="457713" y="198513"/>
                    <a:pt x="278738" y="387394"/>
                  </a:cubicBezTo>
                  <a:cubicBezTo>
                    <a:pt x="111384" y="563987"/>
                    <a:pt x="42423" y="822210"/>
                    <a:pt x="107098" y="1029855"/>
                  </a:cubicBezTo>
                  <a:lnTo>
                    <a:pt x="27564" y="105462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57DF92FA-1E36-46B1-8BF7-6212BFBD2A98}"/>
                </a:ext>
              </a:extLst>
            </p:cNvPr>
            <p:cNvSpPr/>
            <p:nvPr/>
          </p:nvSpPr>
          <p:spPr>
            <a:xfrm>
              <a:off x="3664256" y="3634386"/>
              <a:ext cx="1743072" cy="1000133"/>
            </a:xfrm>
            <a:custGeom>
              <a:avLst/>
              <a:gdLst>
                <a:gd name="connsiteX0" fmla="*/ 20864 w 1743075"/>
                <a:gd name="connsiteY0" fmla="*/ 1007650 h 1000125"/>
                <a:gd name="connsiteX1" fmla="*/ 212602 w 1743075"/>
                <a:gd name="connsiteY1" fmla="*/ 323659 h 1000125"/>
                <a:gd name="connsiteX2" fmla="*/ 853539 w 1743075"/>
                <a:gd name="connsiteY2" fmla="*/ 15621 h 1000125"/>
                <a:gd name="connsiteX3" fmla="*/ 1046230 w 1743075"/>
                <a:gd name="connsiteY3" fmla="*/ 0 h 1000125"/>
                <a:gd name="connsiteX4" fmla="*/ 1515527 w 1743075"/>
                <a:gd name="connsiteY4" fmla="*/ 145828 h 1000125"/>
                <a:gd name="connsiteX5" fmla="*/ 1741174 w 1743075"/>
                <a:gd name="connsiteY5" fmla="*/ 727520 h 1000125"/>
                <a:gd name="connsiteX6" fmla="*/ 1700122 w 1743075"/>
                <a:gd name="connsiteY6" fmla="*/ 720662 h 1000125"/>
                <a:gd name="connsiteX7" fmla="*/ 1489524 w 1743075"/>
                <a:gd name="connsiteY7" fmla="*/ 178213 h 1000125"/>
                <a:gd name="connsiteX8" fmla="*/ 1046421 w 1743075"/>
                <a:gd name="connsiteY8" fmla="*/ 41529 h 1000125"/>
                <a:gd name="connsiteX9" fmla="*/ 860112 w 1743075"/>
                <a:gd name="connsiteY9" fmla="*/ 56674 h 1000125"/>
                <a:gd name="connsiteX10" fmla="*/ 242987 w 1743075"/>
                <a:gd name="connsiteY10" fmla="*/ 352234 h 1000125"/>
                <a:gd name="connsiteX11" fmla="*/ 60774 w 1743075"/>
                <a:gd name="connsiteY11" fmla="*/ 995172 h 1000125"/>
                <a:gd name="connsiteX12" fmla="*/ 20864 w 1743075"/>
                <a:gd name="connsiteY12" fmla="*/ 1007650 h 1000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43075" h="1000125">
                  <a:moveTo>
                    <a:pt x="20864" y="1007650"/>
                  </a:moveTo>
                  <a:cubicBezTo>
                    <a:pt x="-40191" y="782765"/>
                    <a:pt x="35437" y="510635"/>
                    <a:pt x="212602" y="323659"/>
                  </a:cubicBezTo>
                  <a:cubicBezTo>
                    <a:pt x="363859" y="164021"/>
                    <a:pt x="585506" y="57531"/>
                    <a:pt x="853539" y="15621"/>
                  </a:cubicBezTo>
                  <a:cubicBezTo>
                    <a:pt x="919643" y="5239"/>
                    <a:pt x="984508" y="0"/>
                    <a:pt x="1046230" y="0"/>
                  </a:cubicBezTo>
                  <a:cubicBezTo>
                    <a:pt x="1237111" y="0"/>
                    <a:pt x="1395036" y="49054"/>
                    <a:pt x="1515527" y="145828"/>
                  </a:cubicBezTo>
                  <a:cubicBezTo>
                    <a:pt x="1680595" y="278321"/>
                    <a:pt x="1769654" y="509873"/>
                    <a:pt x="1741174" y="727520"/>
                  </a:cubicBezTo>
                  <a:lnTo>
                    <a:pt x="1700122" y="720662"/>
                  </a:lnTo>
                  <a:cubicBezTo>
                    <a:pt x="1726315" y="517398"/>
                    <a:pt x="1643162" y="301657"/>
                    <a:pt x="1489524" y="178213"/>
                  </a:cubicBezTo>
                  <a:cubicBezTo>
                    <a:pt x="1376557" y="87535"/>
                    <a:pt x="1227491" y="41529"/>
                    <a:pt x="1046421" y="41529"/>
                  </a:cubicBezTo>
                  <a:cubicBezTo>
                    <a:pt x="986889" y="41529"/>
                    <a:pt x="924215" y="46577"/>
                    <a:pt x="860112" y="56674"/>
                  </a:cubicBezTo>
                  <a:cubicBezTo>
                    <a:pt x="679613" y="84868"/>
                    <a:pt x="426057" y="159067"/>
                    <a:pt x="242987" y="352234"/>
                  </a:cubicBezTo>
                  <a:cubicBezTo>
                    <a:pt x="75919" y="528542"/>
                    <a:pt x="4195" y="784193"/>
                    <a:pt x="60774" y="995172"/>
                  </a:cubicBezTo>
                  <a:lnTo>
                    <a:pt x="20864" y="1007650"/>
                  </a:lnTo>
                  <a:close/>
                </a:path>
              </a:pathLst>
            </a:custGeom>
            <a:solidFill>
              <a:srgbClr val="DBD75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6BAD95DC-3D7A-4D1E-AF7E-060F7C4CC694}"/>
                </a:ext>
              </a:extLst>
            </p:cNvPr>
            <p:cNvSpPr/>
            <p:nvPr/>
          </p:nvSpPr>
          <p:spPr>
            <a:xfrm>
              <a:off x="3094835" y="4508696"/>
              <a:ext cx="1238248" cy="1514487"/>
            </a:xfrm>
            <a:custGeom>
              <a:avLst/>
              <a:gdLst>
                <a:gd name="connsiteX0" fmla="*/ 1231795 w 1238250"/>
                <a:gd name="connsiteY0" fmla="*/ 1342358 h 1514475"/>
                <a:gd name="connsiteX1" fmla="*/ 921185 w 1238250"/>
                <a:gd name="connsiteY1" fmla="*/ 498634 h 1514475"/>
                <a:gd name="connsiteX2" fmla="*/ 875369 w 1238250"/>
                <a:gd name="connsiteY2" fmla="*/ 241649 h 1514475"/>
                <a:gd name="connsiteX3" fmla="*/ 875369 w 1238250"/>
                <a:gd name="connsiteY3" fmla="*/ 80296 h 1514475"/>
                <a:gd name="connsiteX4" fmla="*/ 900706 w 1238250"/>
                <a:gd name="connsiteY4" fmla="*/ 80296 h 1514475"/>
                <a:gd name="connsiteX5" fmla="*/ 941854 w 1238250"/>
                <a:gd name="connsiteY5" fmla="*/ 39148 h 1514475"/>
                <a:gd name="connsiteX6" fmla="*/ 941854 w 1238250"/>
                <a:gd name="connsiteY6" fmla="*/ 3619 h 1514475"/>
                <a:gd name="connsiteX7" fmla="*/ 938234 w 1238250"/>
                <a:gd name="connsiteY7" fmla="*/ 0 h 1514475"/>
                <a:gd name="connsiteX8" fmla="*/ 301583 w 1238250"/>
                <a:gd name="connsiteY8" fmla="*/ 0 h 1514475"/>
                <a:gd name="connsiteX9" fmla="*/ 297964 w 1238250"/>
                <a:gd name="connsiteY9" fmla="*/ 3619 h 1514475"/>
                <a:gd name="connsiteX10" fmla="*/ 297964 w 1238250"/>
                <a:gd name="connsiteY10" fmla="*/ 39148 h 1514475"/>
                <a:gd name="connsiteX11" fmla="*/ 339112 w 1238250"/>
                <a:gd name="connsiteY11" fmla="*/ 80296 h 1514475"/>
                <a:gd name="connsiteX12" fmla="*/ 364448 w 1238250"/>
                <a:gd name="connsiteY12" fmla="*/ 80296 h 1514475"/>
                <a:gd name="connsiteX13" fmla="*/ 364448 w 1238250"/>
                <a:gd name="connsiteY13" fmla="*/ 241649 h 1514475"/>
                <a:gd name="connsiteX14" fmla="*/ 318633 w 1238250"/>
                <a:gd name="connsiteY14" fmla="*/ 498634 h 1514475"/>
                <a:gd name="connsiteX15" fmla="*/ 8023 w 1238250"/>
                <a:gd name="connsiteY15" fmla="*/ 1342358 h 1514475"/>
                <a:gd name="connsiteX16" fmla="*/ 128419 w 1238250"/>
                <a:gd name="connsiteY16" fmla="*/ 1514951 h 1514475"/>
                <a:gd name="connsiteX17" fmla="*/ 1111399 w 1238250"/>
                <a:gd name="connsiteY17" fmla="*/ 1514951 h 1514475"/>
                <a:gd name="connsiteX18" fmla="*/ 1231795 w 1238250"/>
                <a:gd name="connsiteY18" fmla="*/ 1342358 h 151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8250" h="1514475">
                  <a:moveTo>
                    <a:pt x="1231795" y="1342358"/>
                  </a:moveTo>
                  <a:lnTo>
                    <a:pt x="921185" y="498634"/>
                  </a:lnTo>
                  <a:cubicBezTo>
                    <a:pt x="890895" y="416338"/>
                    <a:pt x="875369" y="329279"/>
                    <a:pt x="875369" y="241649"/>
                  </a:cubicBezTo>
                  <a:lnTo>
                    <a:pt x="875369" y="80296"/>
                  </a:lnTo>
                  <a:lnTo>
                    <a:pt x="900706" y="80296"/>
                  </a:lnTo>
                  <a:cubicBezTo>
                    <a:pt x="923375" y="80296"/>
                    <a:pt x="941854" y="61913"/>
                    <a:pt x="941854" y="39148"/>
                  </a:cubicBezTo>
                  <a:lnTo>
                    <a:pt x="941854" y="3619"/>
                  </a:lnTo>
                  <a:cubicBezTo>
                    <a:pt x="941854" y="1619"/>
                    <a:pt x="940235" y="0"/>
                    <a:pt x="938234" y="0"/>
                  </a:cubicBezTo>
                  <a:lnTo>
                    <a:pt x="301583" y="0"/>
                  </a:lnTo>
                  <a:cubicBezTo>
                    <a:pt x="299583" y="0"/>
                    <a:pt x="297964" y="1619"/>
                    <a:pt x="297964" y="3619"/>
                  </a:cubicBezTo>
                  <a:lnTo>
                    <a:pt x="297964" y="39148"/>
                  </a:lnTo>
                  <a:cubicBezTo>
                    <a:pt x="297964" y="61817"/>
                    <a:pt x="316347" y="80296"/>
                    <a:pt x="339112" y="80296"/>
                  </a:cubicBezTo>
                  <a:lnTo>
                    <a:pt x="364448" y="80296"/>
                  </a:lnTo>
                  <a:lnTo>
                    <a:pt x="364448" y="241649"/>
                  </a:lnTo>
                  <a:cubicBezTo>
                    <a:pt x="364448" y="329374"/>
                    <a:pt x="348922" y="416338"/>
                    <a:pt x="318633" y="498634"/>
                  </a:cubicBezTo>
                  <a:lnTo>
                    <a:pt x="8023" y="1342358"/>
                  </a:lnTo>
                  <a:cubicBezTo>
                    <a:pt x="-22838" y="1426083"/>
                    <a:pt x="39169" y="1514951"/>
                    <a:pt x="128419" y="1514951"/>
                  </a:cubicBezTo>
                  <a:lnTo>
                    <a:pt x="1111399" y="1514951"/>
                  </a:lnTo>
                  <a:cubicBezTo>
                    <a:pt x="1200648" y="1515047"/>
                    <a:pt x="1262561" y="1426178"/>
                    <a:pt x="1231795" y="1342358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969EB2DA-8783-4CD7-95D7-889C25E3BC0B}"/>
                </a:ext>
              </a:extLst>
            </p:cNvPr>
            <p:cNvSpPr/>
            <p:nvPr/>
          </p:nvSpPr>
          <p:spPr>
            <a:xfrm>
              <a:off x="3145386" y="5318518"/>
              <a:ext cx="1133473" cy="647705"/>
            </a:xfrm>
            <a:custGeom>
              <a:avLst/>
              <a:gdLst>
                <a:gd name="connsiteX0" fmla="*/ 4906 w 1133475"/>
                <a:gd name="connsiteY0" fmla="*/ 549973 h 647700"/>
                <a:gd name="connsiteX1" fmla="*/ 14146 w 1133475"/>
                <a:gd name="connsiteY1" fmla="*/ 621411 h 647700"/>
                <a:gd name="connsiteX2" fmla="*/ 77963 w 1133475"/>
                <a:gd name="connsiteY2" fmla="*/ 654748 h 647700"/>
                <a:gd name="connsiteX3" fmla="*/ 1060848 w 1133475"/>
                <a:gd name="connsiteY3" fmla="*/ 654748 h 647700"/>
                <a:gd name="connsiteX4" fmla="*/ 1124665 w 1133475"/>
                <a:gd name="connsiteY4" fmla="*/ 621411 h 647700"/>
                <a:gd name="connsiteX5" fmla="*/ 1133904 w 1133475"/>
                <a:gd name="connsiteY5" fmla="*/ 549973 h 647700"/>
                <a:gd name="connsiteX6" fmla="*/ 931498 w 1133475"/>
                <a:gd name="connsiteY6" fmla="*/ 0 h 647700"/>
                <a:gd name="connsiteX7" fmla="*/ 207408 w 1133475"/>
                <a:gd name="connsiteY7" fmla="*/ 0 h 647700"/>
                <a:gd name="connsiteX8" fmla="*/ 4906 w 1133475"/>
                <a:gd name="connsiteY8" fmla="*/ 549973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33475" h="647700">
                  <a:moveTo>
                    <a:pt x="4906" y="549973"/>
                  </a:moveTo>
                  <a:cubicBezTo>
                    <a:pt x="-4047" y="574167"/>
                    <a:pt x="-618" y="600266"/>
                    <a:pt x="14146" y="621411"/>
                  </a:cubicBezTo>
                  <a:cubicBezTo>
                    <a:pt x="28909" y="642556"/>
                    <a:pt x="52150" y="654748"/>
                    <a:pt x="77963" y="654748"/>
                  </a:cubicBezTo>
                  <a:lnTo>
                    <a:pt x="1060848" y="654748"/>
                  </a:lnTo>
                  <a:cubicBezTo>
                    <a:pt x="1086660" y="654748"/>
                    <a:pt x="1109902" y="642556"/>
                    <a:pt x="1124665" y="621411"/>
                  </a:cubicBezTo>
                  <a:cubicBezTo>
                    <a:pt x="1139429" y="600266"/>
                    <a:pt x="1142763" y="574167"/>
                    <a:pt x="1133904" y="549973"/>
                  </a:cubicBezTo>
                  <a:lnTo>
                    <a:pt x="931498" y="0"/>
                  </a:lnTo>
                  <a:lnTo>
                    <a:pt x="207408" y="0"/>
                  </a:lnTo>
                  <a:lnTo>
                    <a:pt x="4906" y="549973"/>
                  </a:lnTo>
                  <a:close/>
                </a:path>
              </a:pathLst>
            </a:custGeom>
            <a:solidFill>
              <a:srgbClr val="DBD75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8A15560C-26EB-4188-A835-C0F619E1735A}"/>
                </a:ext>
              </a:extLst>
            </p:cNvPr>
            <p:cNvSpPr/>
            <p:nvPr/>
          </p:nvSpPr>
          <p:spPr>
            <a:xfrm>
              <a:off x="5456387" y="3533040"/>
              <a:ext cx="2266946" cy="2047891"/>
            </a:xfrm>
            <a:custGeom>
              <a:avLst/>
              <a:gdLst>
                <a:gd name="connsiteX0" fmla="*/ 1850517 w 2266950"/>
                <a:gd name="connsiteY0" fmla="*/ 2049590 h 2047875"/>
                <a:gd name="connsiteX1" fmla="*/ 1767269 w 2266950"/>
                <a:gd name="connsiteY1" fmla="*/ 2049590 h 2047875"/>
                <a:gd name="connsiteX2" fmla="*/ 2004346 w 2266950"/>
                <a:gd name="connsiteY2" fmla="*/ 1875568 h 2047875"/>
                <a:gd name="connsiteX3" fmla="*/ 2183701 w 2266950"/>
                <a:gd name="connsiteY3" fmla="*/ 1780794 h 2047875"/>
                <a:gd name="connsiteX4" fmla="*/ 2004346 w 2266950"/>
                <a:gd name="connsiteY4" fmla="*/ 1686020 h 2047875"/>
                <a:gd name="connsiteX5" fmla="*/ 1767269 w 2266950"/>
                <a:gd name="connsiteY5" fmla="*/ 1511999 h 2047875"/>
                <a:gd name="connsiteX6" fmla="*/ 2004346 w 2266950"/>
                <a:gd name="connsiteY6" fmla="*/ 1337977 h 2047875"/>
                <a:gd name="connsiteX7" fmla="*/ 2183701 w 2266950"/>
                <a:gd name="connsiteY7" fmla="*/ 1243203 h 2047875"/>
                <a:gd name="connsiteX8" fmla="*/ 2004346 w 2266950"/>
                <a:gd name="connsiteY8" fmla="*/ 1148429 h 2047875"/>
                <a:gd name="connsiteX9" fmla="*/ 1767269 w 2266950"/>
                <a:gd name="connsiteY9" fmla="*/ 974312 h 2047875"/>
                <a:gd name="connsiteX10" fmla="*/ 2004346 w 2266950"/>
                <a:gd name="connsiteY10" fmla="*/ 800291 h 2047875"/>
                <a:gd name="connsiteX11" fmla="*/ 2183701 w 2266950"/>
                <a:gd name="connsiteY11" fmla="*/ 705517 h 2047875"/>
                <a:gd name="connsiteX12" fmla="*/ 2004346 w 2266950"/>
                <a:gd name="connsiteY12" fmla="*/ 610648 h 2047875"/>
                <a:gd name="connsiteX13" fmla="*/ 1767269 w 2266950"/>
                <a:gd name="connsiteY13" fmla="*/ 436531 h 2047875"/>
                <a:gd name="connsiteX14" fmla="*/ 2004346 w 2266950"/>
                <a:gd name="connsiteY14" fmla="*/ 262414 h 2047875"/>
                <a:gd name="connsiteX15" fmla="*/ 2183701 w 2266950"/>
                <a:gd name="connsiteY15" fmla="*/ 167545 h 2047875"/>
                <a:gd name="connsiteX16" fmla="*/ 2032826 w 2266950"/>
                <a:gd name="connsiteY16" fmla="*/ 83344 h 2047875"/>
                <a:gd name="connsiteX17" fmla="*/ 453104 w 2266950"/>
                <a:gd name="connsiteY17" fmla="*/ 83344 h 2047875"/>
                <a:gd name="connsiteX18" fmla="*/ 83248 w 2266950"/>
                <a:gd name="connsiteY18" fmla="*/ 453200 h 2047875"/>
                <a:gd name="connsiteX19" fmla="*/ 83248 w 2266950"/>
                <a:gd name="connsiteY19" fmla="*/ 733711 h 2047875"/>
                <a:gd name="connsiteX20" fmla="*/ 0 w 2266950"/>
                <a:gd name="connsiteY20" fmla="*/ 733711 h 2047875"/>
                <a:gd name="connsiteX21" fmla="*/ 0 w 2266950"/>
                <a:gd name="connsiteY21" fmla="*/ 453200 h 2047875"/>
                <a:gd name="connsiteX22" fmla="*/ 453199 w 2266950"/>
                <a:gd name="connsiteY22" fmla="*/ 0 h 2047875"/>
                <a:gd name="connsiteX23" fmla="*/ 2032921 w 2266950"/>
                <a:gd name="connsiteY23" fmla="*/ 0 h 2047875"/>
                <a:gd name="connsiteX24" fmla="*/ 2267045 w 2266950"/>
                <a:gd name="connsiteY24" fmla="*/ 167450 h 2047875"/>
                <a:gd name="connsiteX25" fmla="*/ 2029968 w 2266950"/>
                <a:gd name="connsiteY25" fmla="*/ 341567 h 2047875"/>
                <a:gd name="connsiteX26" fmla="*/ 1850612 w 2266950"/>
                <a:gd name="connsiteY26" fmla="*/ 436436 h 2047875"/>
                <a:gd name="connsiteX27" fmla="*/ 2029968 w 2266950"/>
                <a:gd name="connsiteY27" fmla="*/ 531305 h 2047875"/>
                <a:gd name="connsiteX28" fmla="*/ 2267045 w 2266950"/>
                <a:gd name="connsiteY28" fmla="*/ 705422 h 2047875"/>
                <a:gd name="connsiteX29" fmla="*/ 2029968 w 2266950"/>
                <a:gd name="connsiteY29" fmla="*/ 879443 h 2047875"/>
                <a:gd name="connsiteX30" fmla="*/ 1850612 w 2266950"/>
                <a:gd name="connsiteY30" fmla="*/ 974217 h 2047875"/>
                <a:gd name="connsiteX31" fmla="*/ 2029968 w 2266950"/>
                <a:gd name="connsiteY31" fmla="*/ 1069086 h 2047875"/>
                <a:gd name="connsiteX32" fmla="*/ 2267045 w 2266950"/>
                <a:gd name="connsiteY32" fmla="*/ 1243203 h 2047875"/>
                <a:gd name="connsiteX33" fmla="*/ 2029968 w 2266950"/>
                <a:gd name="connsiteY33" fmla="*/ 1417225 h 2047875"/>
                <a:gd name="connsiteX34" fmla="*/ 1850612 w 2266950"/>
                <a:gd name="connsiteY34" fmla="*/ 1511999 h 2047875"/>
                <a:gd name="connsiteX35" fmla="*/ 2029968 w 2266950"/>
                <a:gd name="connsiteY35" fmla="*/ 1606772 h 2047875"/>
                <a:gd name="connsiteX36" fmla="*/ 2267045 w 2266950"/>
                <a:gd name="connsiteY36" fmla="*/ 1780794 h 2047875"/>
                <a:gd name="connsiteX37" fmla="*/ 2029968 w 2266950"/>
                <a:gd name="connsiteY37" fmla="*/ 1954816 h 2047875"/>
                <a:gd name="connsiteX38" fmla="*/ 1850517 w 2266950"/>
                <a:gd name="connsiteY38" fmla="*/ 2049590 h 2047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266950" h="2047875">
                  <a:moveTo>
                    <a:pt x="1850517" y="2049590"/>
                  </a:moveTo>
                  <a:lnTo>
                    <a:pt x="1767269" y="2049590"/>
                  </a:lnTo>
                  <a:cubicBezTo>
                    <a:pt x="1767269" y="1952053"/>
                    <a:pt x="1887760" y="1913192"/>
                    <a:pt x="2004346" y="1875568"/>
                  </a:cubicBezTo>
                  <a:cubicBezTo>
                    <a:pt x="2080069" y="1851184"/>
                    <a:pt x="2183701" y="1817656"/>
                    <a:pt x="2183701" y="1780794"/>
                  </a:cubicBezTo>
                  <a:cubicBezTo>
                    <a:pt x="2183701" y="1743932"/>
                    <a:pt x="2080069" y="1710500"/>
                    <a:pt x="2004346" y="1686020"/>
                  </a:cubicBezTo>
                  <a:cubicBezTo>
                    <a:pt x="1887760" y="1648397"/>
                    <a:pt x="1767269" y="1609535"/>
                    <a:pt x="1767269" y="1511999"/>
                  </a:cubicBezTo>
                  <a:cubicBezTo>
                    <a:pt x="1767269" y="1414463"/>
                    <a:pt x="1887760" y="1375601"/>
                    <a:pt x="2004346" y="1337977"/>
                  </a:cubicBezTo>
                  <a:cubicBezTo>
                    <a:pt x="2080069" y="1313593"/>
                    <a:pt x="2183701" y="1280065"/>
                    <a:pt x="2183701" y="1243203"/>
                  </a:cubicBezTo>
                  <a:cubicBezTo>
                    <a:pt x="2183701" y="1206341"/>
                    <a:pt x="2080069" y="1172813"/>
                    <a:pt x="2004346" y="1148429"/>
                  </a:cubicBezTo>
                  <a:cubicBezTo>
                    <a:pt x="1887760" y="1110806"/>
                    <a:pt x="1767269" y="1071848"/>
                    <a:pt x="1767269" y="974312"/>
                  </a:cubicBezTo>
                  <a:cubicBezTo>
                    <a:pt x="1767269" y="876776"/>
                    <a:pt x="1887760" y="837914"/>
                    <a:pt x="2004346" y="800291"/>
                  </a:cubicBezTo>
                  <a:cubicBezTo>
                    <a:pt x="2080069" y="775907"/>
                    <a:pt x="2183701" y="742379"/>
                    <a:pt x="2183701" y="705517"/>
                  </a:cubicBezTo>
                  <a:cubicBezTo>
                    <a:pt x="2183701" y="668560"/>
                    <a:pt x="2080069" y="635127"/>
                    <a:pt x="2004346" y="610648"/>
                  </a:cubicBezTo>
                  <a:cubicBezTo>
                    <a:pt x="1887855" y="573024"/>
                    <a:pt x="1767269" y="534067"/>
                    <a:pt x="1767269" y="436531"/>
                  </a:cubicBezTo>
                  <a:cubicBezTo>
                    <a:pt x="1767269" y="338995"/>
                    <a:pt x="1887760" y="300038"/>
                    <a:pt x="2004346" y="262414"/>
                  </a:cubicBezTo>
                  <a:cubicBezTo>
                    <a:pt x="2080069" y="237934"/>
                    <a:pt x="2183701" y="204502"/>
                    <a:pt x="2183701" y="167545"/>
                  </a:cubicBezTo>
                  <a:cubicBezTo>
                    <a:pt x="2183701" y="89440"/>
                    <a:pt x="2068258" y="83344"/>
                    <a:pt x="2032826" y="83344"/>
                  </a:cubicBezTo>
                  <a:lnTo>
                    <a:pt x="453104" y="83344"/>
                  </a:lnTo>
                  <a:cubicBezTo>
                    <a:pt x="249174" y="83344"/>
                    <a:pt x="83248" y="249269"/>
                    <a:pt x="83248" y="453200"/>
                  </a:cubicBezTo>
                  <a:lnTo>
                    <a:pt x="83248" y="733711"/>
                  </a:lnTo>
                  <a:lnTo>
                    <a:pt x="0" y="733711"/>
                  </a:lnTo>
                  <a:lnTo>
                    <a:pt x="0" y="453200"/>
                  </a:lnTo>
                  <a:cubicBezTo>
                    <a:pt x="0" y="203359"/>
                    <a:pt x="203263" y="0"/>
                    <a:pt x="453199" y="0"/>
                  </a:cubicBezTo>
                  <a:lnTo>
                    <a:pt x="2032921" y="0"/>
                  </a:lnTo>
                  <a:cubicBezTo>
                    <a:pt x="2177320" y="0"/>
                    <a:pt x="2267045" y="64199"/>
                    <a:pt x="2267045" y="167450"/>
                  </a:cubicBezTo>
                  <a:cubicBezTo>
                    <a:pt x="2267045" y="264986"/>
                    <a:pt x="2146554" y="303943"/>
                    <a:pt x="2029968" y="341567"/>
                  </a:cubicBezTo>
                  <a:cubicBezTo>
                    <a:pt x="1954244" y="366046"/>
                    <a:pt x="1850612" y="399479"/>
                    <a:pt x="1850612" y="436436"/>
                  </a:cubicBezTo>
                  <a:cubicBezTo>
                    <a:pt x="1850612" y="473392"/>
                    <a:pt x="1954244" y="506825"/>
                    <a:pt x="2029968" y="531305"/>
                  </a:cubicBezTo>
                  <a:cubicBezTo>
                    <a:pt x="2146554" y="568928"/>
                    <a:pt x="2267045" y="607886"/>
                    <a:pt x="2267045" y="705422"/>
                  </a:cubicBezTo>
                  <a:cubicBezTo>
                    <a:pt x="2267045" y="802958"/>
                    <a:pt x="2146554" y="841820"/>
                    <a:pt x="2029968" y="879443"/>
                  </a:cubicBezTo>
                  <a:cubicBezTo>
                    <a:pt x="1954244" y="903827"/>
                    <a:pt x="1850612" y="937355"/>
                    <a:pt x="1850612" y="974217"/>
                  </a:cubicBezTo>
                  <a:cubicBezTo>
                    <a:pt x="1850612" y="1011174"/>
                    <a:pt x="1954244" y="1044607"/>
                    <a:pt x="2029968" y="1069086"/>
                  </a:cubicBezTo>
                  <a:cubicBezTo>
                    <a:pt x="2146459" y="1106710"/>
                    <a:pt x="2267045" y="1145667"/>
                    <a:pt x="2267045" y="1243203"/>
                  </a:cubicBezTo>
                  <a:cubicBezTo>
                    <a:pt x="2267045" y="1340739"/>
                    <a:pt x="2146554" y="1379601"/>
                    <a:pt x="2029968" y="1417225"/>
                  </a:cubicBezTo>
                  <a:cubicBezTo>
                    <a:pt x="1954244" y="1441609"/>
                    <a:pt x="1850612" y="1475137"/>
                    <a:pt x="1850612" y="1511999"/>
                  </a:cubicBezTo>
                  <a:cubicBezTo>
                    <a:pt x="1850612" y="1548860"/>
                    <a:pt x="1954244" y="1582293"/>
                    <a:pt x="2029968" y="1606772"/>
                  </a:cubicBezTo>
                  <a:cubicBezTo>
                    <a:pt x="2146554" y="1644396"/>
                    <a:pt x="2267045" y="1683258"/>
                    <a:pt x="2267045" y="1780794"/>
                  </a:cubicBezTo>
                  <a:cubicBezTo>
                    <a:pt x="2267045" y="1878330"/>
                    <a:pt x="2146554" y="1917192"/>
                    <a:pt x="2029968" y="1954816"/>
                  </a:cubicBezTo>
                  <a:cubicBezTo>
                    <a:pt x="1954149" y="1979295"/>
                    <a:pt x="1850517" y="2012728"/>
                    <a:pt x="1850517" y="204959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180CA27E-A4E6-43FD-8790-B846CBDB6550}"/>
                </a:ext>
              </a:extLst>
            </p:cNvPr>
            <p:cNvSpPr/>
            <p:nvPr/>
          </p:nvSpPr>
          <p:spPr>
            <a:xfrm>
              <a:off x="5487533" y="3564284"/>
              <a:ext cx="2200272" cy="1981217"/>
            </a:xfrm>
            <a:custGeom>
              <a:avLst/>
              <a:gdLst>
                <a:gd name="connsiteX0" fmla="*/ 1774317 w 2200275"/>
                <a:gd name="connsiteY0" fmla="*/ 1987106 h 1981200"/>
                <a:gd name="connsiteX1" fmla="*/ 1982724 w 2200275"/>
                <a:gd name="connsiteY1" fmla="*/ 1874044 h 1981200"/>
                <a:gd name="connsiteX2" fmla="*/ 2183702 w 2200275"/>
                <a:gd name="connsiteY2" fmla="*/ 1749552 h 1981200"/>
                <a:gd name="connsiteX3" fmla="*/ 1982724 w 2200275"/>
                <a:gd name="connsiteY3" fmla="*/ 1625060 h 1981200"/>
                <a:gd name="connsiteX4" fmla="*/ 1767364 w 2200275"/>
                <a:gd name="connsiteY4" fmla="*/ 1480757 h 1981200"/>
                <a:gd name="connsiteX5" fmla="*/ 1982819 w 2200275"/>
                <a:gd name="connsiteY5" fmla="*/ 1336453 h 1981200"/>
                <a:gd name="connsiteX6" fmla="*/ 2183797 w 2200275"/>
                <a:gd name="connsiteY6" fmla="*/ 1211961 h 1981200"/>
                <a:gd name="connsiteX7" fmla="*/ 1982819 w 2200275"/>
                <a:gd name="connsiteY7" fmla="*/ 1087469 h 1981200"/>
                <a:gd name="connsiteX8" fmla="*/ 1767364 w 2200275"/>
                <a:gd name="connsiteY8" fmla="*/ 943070 h 1981200"/>
                <a:gd name="connsiteX9" fmla="*/ 1982819 w 2200275"/>
                <a:gd name="connsiteY9" fmla="*/ 798767 h 1981200"/>
                <a:gd name="connsiteX10" fmla="*/ 2183797 w 2200275"/>
                <a:gd name="connsiteY10" fmla="*/ 674275 h 1981200"/>
                <a:gd name="connsiteX11" fmla="*/ 1982819 w 2200275"/>
                <a:gd name="connsiteY11" fmla="*/ 549688 h 1981200"/>
                <a:gd name="connsiteX12" fmla="*/ 1767364 w 2200275"/>
                <a:gd name="connsiteY12" fmla="*/ 405289 h 1981200"/>
                <a:gd name="connsiteX13" fmla="*/ 1982724 w 2200275"/>
                <a:gd name="connsiteY13" fmla="*/ 260890 h 1981200"/>
                <a:gd name="connsiteX14" fmla="*/ 2183797 w 2200275"/>
                <a:gd name="connsiteY14" fmla="*/ 136303 h 1981200"/>
                <a:gd name="connsiteX15" fmla="*/ 2001679 w 2200275"/>
                <a:gd name="connsiteY15" fmla="*/ 20860 h 1981200"/>
                <a:gd name="connsiteX16" fmla="*/ 421957 w 2200275"/>
                <a:gd name="connsiteY16" fmla="*/ 20860 h 1981200"/>
                <a:gd name="connsiteX17" fmla="*/ 20860 w 2200275"/>
                <a:gd name="connsiteY17" fmla="*/ 421958 h 1981200"/>
                <a:gd name="connsiteX18" fmla="*/ 20860 w 2200275"/>
                <a:gd name="connsiteY18" fmla="*/ 671227 h 1981200"/>
                <a:gd name="connsiteX19" fmla="*/ 0 w 2200275"/>
                <a:gd name="connsiteY19" fmla="*/ 671227 h 1981200"/>
                <a:gd name="connsiteX20" fmla="*/ 0 w 2200275"/>
                <a:gd name="connsiteY20" fmla="*/ 421958 h 1981200"/>
                <a:gd name="connsiteX21" fmla="*/ 421957 w 2200275"/>
                <a:gd name="connsiteY21" fmla="*/ 0 h 1981200"/>
                <a:gd name="connsiteX22" fmla="*/ 2001679 w 2200275"/>
                <a:gd name="connsiteY22" fmla="*/ 0 h 1981200"/>
                <a:gd name="connsiteX23" fmla="*/ 2204561 w 2200275"/>
                <a:gd name="connsiteY23" fmla="*/ 136208 h 1981200"/>
                <a:gd name="connsiteX24" fmla="*/ 1989201 w 2200275"/>
                <a:gd name="connsiteY24" fmla="*/ 280607 h 1981200"/>
                <a:gd name="connsiteX25" fmla="*/ 1788128 w 2200275"/>
                <a:gd name="connsiteY25" fmla="*/ 405194 h 1981200"/>
                <a:gd name="connsiteX26" fmla="*/ 1989106 w 2200275"/>
                <a:gd name="connsiteY26" fmla="*/ 529781 h 1981200"/>
                <a:gd name="connsiteX27" fmla="*/ 2204561 w 2200275"/>
                <a:gd name="connsiteY27" fmla="*/ 674180 h 1981200"/>
                <a:gd name="connsiteX28" fmla="*/ 1989106 w 2200275"/>
                <a:gd name="connsiteY28" fmla="*/ 818483 h 1981200"/>
                <a:gd name="connsiteX29" fmla="*/ 1788128 w 2200275"/>
                <a:gd name="connsiteY29" fmla="*/ 942975 h 1981200"/>
                <a:gd name="connsiteX30" fmla="*/ 1989106 w 2200275"/>
                <a:gd name="connsiteY30" fmla="*/ 1067467 h 1981200"/>
                <a:gd name="connsiteX31" fmla="*/ 2204561 w 2200275"/>
                <a:gd name="connsiteY31" fmla="*/ 1211866 h 1981200"/>
                <a:gd name="connsiteX32" fmla="*/ 1989106 w 2200275"/>
                <a:gd name="connsiteY32" fmla="*/ 1356169 h 1981200"/>
                <a:gd name="connsiteX33" fmla="*/ 1788128 w 2200275"/>
                <a:gd name="connsiteY33" fmla="*/ 1480661 h 1981200"/>
                <a:gd name="connsiteX34" fmla="*/ 1989106 w 2200275"/>
                <a:gd name="connsiteY34" fmla="*/ 1605153 h 1981200"/>
                <a:gd name="connsiteX35" fmla="*/ 2204466 w 2200275"/>
                <a:gd name="connsiteY35" fmla="*/ 1749457 h 1981200"/>
                <a:gd name="connsiteX36" fmla="*/ 1989011 w 2200275"/>
                <a:gd name="connsiteY36" fmla="*/ 1893760 h 1981200"/>
                <a:gd name="connsiteX37" fmla="*/ 1797939 w 2200275"/>
                <a:gd name="connsiteY37" fmla="*/ 1987010 h 1981200"/>
                <a:gd name="connsiteX38" fmla="*/ 1774317 w 2200275"/>
                <a:gd name="connsiteY38" fmla="*/ 1987010 h 1981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200275" h="1981200">
                  <a:moveTo>
                    <a:pt x="1774317" y="1987106"/>
                  </a:moveTo>
                  <a:cubicBezTo>
                    <a:pt x="1799940" y="1933004"/>
                    <a:pt x="1892808" y="1903095"/>
                    <a:pt x="1982724" y="1874044"/>
                  </a:cubicBezTo>
                  <a:cubicBezTo>
                    <a:pt x="2104168" y="1834896"/>
                    <a:pt x="2183702" y="1804988"/>
                    <a:pt x="2183702" y="1749552"/>
                  </a:cubicBezTo>
                  <a:cubicBezTo>
                    <a:pt x="2183702" y="1694117"/>
                    <a:pt x="2104073" y="1664303"/>
                    <a:pt x="1982724" y="1625060"/>
                  </a:cubicBezTo>
                  <a:cubicBezTo>
                    <a:pt x="1876806" y="1590866"/>
                    <a:pt x="1767364" y="1555528"/>
                    <a:pt x="1767364" y="1480757"/>
                  </a:cubicBezTo>
                  <a:cubicBezTo>
                    <a:pt x="1767364" y="1405985"/>
                    <a:pt x="1876901" y="1370648"/>
                    <a:pt x="1982819" y="1336453"/>
                  </a:cubicBezTo>
                  <a:cubicBezTo>
                    <a:pt x="2104263" y="1297305"/>
                    <a:pt x="2183797" y="1267397"/>
                    <a:pt x="2183797" y="1211961"/>
                  </a:cubicBezTo>
                  <a:cubicBezTo>
                    <a:pt x="2183797" y="1156430"/>
                    <a:pt x="2104168" y="1126617"/>
                    <a:pt x="1982819" y="1087469"/>
                  </a:cubicBezTo>
                  <a:cubicBezTo>
                    <a:pt x="1876901" y="1053275"/>
                    <a:pt x="1767364" y="1017937"/>
                    <a:pt x="1767364" y="943070"/>
                  </a:cubicBezTo>
                  <a:cubicBezTo>
                    <a:pt x="1767364" y="868299"/>
                    <a:pt x="1876901" y="832961"/>
                    <a:pt x="1982819" y="798767"/>
                  </a:cubicBezTo>
                  <a:cubicBezTo>
                    <a:pt x="2104263" y="759619"/>
                    <a:pt x="2183797" y="729710"/>
                    <a:pt x="2183797" y="674275"/>
                  </a:cubicBezTo>
                  <a:cubicBezTo>
                    <a:pt x="2183797" y="618744"/>
                    <a:pt x="2104263" y="588931"/>
                    <a:pt x="1982819" y="549688"/>
                  </a:cubicBezTo>
                  <a:cubicBezTo>
                    <a:pt x="1876901" y="515493"/>
                    <a:pt x="1767364" y="480060"/>
                    <a:pt x="1767364" y="405289"/>
                  </a:cubicBezTo>
                  <a:cubicBezTo>
                    <a:pt x="1767364" y="330422"/>
                    <a:pt x="1876901" y="295084"/>
                    <a:pt x="1982724" y="260890"/>
                  </a:cubicBezTo>
                  <a:cubicBezTo>
                    <a:pt x="2104168" y="221647"/>
                    <a:pt x="2183797" y="191834"/>
                    <a:pt x="2183797" y="136303"/>
                  </a:cubicBezTo>
                  <a:cubicBezTo>
                    <a:pt x="2183797" y="64008"/>
                    <a:pt x="2115693" y="20860"/>
                    <a:pt x="2001679" y="20860"/>
                  </a:cubicBezTo>
                  <a:lnTo>
                    <a:pt x="421957" y="20860"/>
                  </a:lnTo>
                  <a:cubicBezTo>
                    <a:pt x="200787" y="20860"/>
                    <a:pt x="20860" y="200787"/>
                    <a:pt x="20860" y="421958"/>
                  </a:cubicBezTo>
                  <a:lnTo>
                    <a:pt x="20860" y="671227"/>
                  </a:lnTo>
                  <a:lnTo>
                    <a:pt x="0" y="671227"/>
                  </a:lnTo>
                  <a:lnTo>
                    <a:pt x="0" y="421958"/>
                  </a:lnTo>
                  <a:cubicBezTo>
                    <a:pt x="0" y="189262"/>
                    <a:pt x="189262" y="0"/>
                    <a:pt x="421957" y="0"/>
                  </a:cubicBezTo>
                  <a:lnTo>
                    <a:pt x="2001679" y="0"/>
                  </a:lnTo>
                  <a:cubicBezTo>
                    <a:pt x="2126837" y="0"/>
                    <a:pt x="2204561" y="52197"/>
                    <a:pt x="2204561" y="136208"/>
                  </a:cubicBezTo>
                  <a:cubicBezTo>
                    <a:pt x="2204561" y="210979"/>
                    <a:pt x="2095119" y="246412"/>
                    <a:pt x="1989201" y="280607"/>
                  </a:cubicBezTo>
                  <a:cubicBezTo>
                    <a:pt x="1867758" y="319850"/>
                    <a:pt x="1788128" y="349758"/>
                    <a:pt x="1788128" y="405194"/>
                  </a:cubicBezTo>
                  <a:cubicBezTo>
                    <a:pt x="1788128" y="460629"/>
                    <a:pt x="1867758" y="490538"/>
                    <a:pt x="1989106" y="529781"/>
                  </a:cubicBezTo>
                  <a:cubicBezTo>
                    <a:pt x="2095024" y="563975"/>
                    <a:pt x="2204561" y="599408"/>
                    <a:pt x="2204561" y="674180"/>
                  </a:cubicBezTo>
                  <a:cubicBezTo>
                    <a:pt x="2204561" y="748951"/>
                    <a:pt x="2095024" y="784288"/>
                    <a:pt x="1989106" y="818483"/>
                  </a:cubicBezTo>
                  <a:cubicBezTo>
                    <a:pt x="1867662" y="857631"/>
                    <a:pt x="1788128" y="887540"/>
                    <a:pt x="1788128" y="942975"/>
                  </a:cubicBezTo>
                  <a:cubicBezTo>
                    <a:pt x="1788128" y="998506"/>
                    <a:pt x="1867758" y="1028319"/>
                    <a:pt x="1989106" y="1067467"/>
                  </a:cubicBezTo>
                  <a:cubicBezTo>
                    <a:pt x="2095024" y="1101661"/>
                    <a:pt x="2204561" y="1136999"/>
                    <a:pt x="2204561" y="1211866"/>
                  </a:cubicBezTo>
                  <a:cubicBezTo>
                    <a:pt x="2204561" y="1286637"/>
                    <a:pt x="2095024" y="1321975"/>
                    <a:pt x="1989106" y="1356169"/>
                  </a:cubicBezTo>
                  <a:cubicBezTo>
                    <a:pt x="1867662" y="1395317"/>
                    <a:pt x="1788128" y="1425226"/>
                    <a:pt x="1788128" y="1480661"/>
                  </a:cubicBezTo>
                  <a:cubicBezTo>
                    <a:pt x="1788128" y="1536097"/>
                    <a:pt x="1867758" y="1566005"/>
                    <a:pt x="1989106" y="1605153"/>
                  </a:cubicBezTo>
                  <a:cubicBezTo>
                    <a:pt x="2095024" y="1639348"/>
                    <a:pt x="2204466" y="1674685"/>
                    <a:pt x="2204466" y="1749457"/>
                  </a:cubicBezTo>
                  <a:cubicBezTo>
                    <a:pt x="2204466" y="1824228"/>
                    <a:pt x="2094929" y="1859566"/>
                    <a:pt x="1989011" y="1893760"/>
                  </a:cubicBezTo>
                  <a:cubicBezTo>
                    <a:pt x="1893570" y="1924526"/>
                    <a:pt x="1823181" y="1949672"/>
                    <a:pt x="1797939" y="1987010"/>
                  </a:cubicBezTo>
                  <a:lnTo>
                    <a:pt x="1774317" y="1987010"/>
                  </a:lnTo>
                  <a:close/>
                </a:path>
              </a:pathLst>
            </a:custGeom>
            <a:solidFill>
              <a:srgbClr val="08B68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3C72E257-36C1-4364-9DE7-44073A7CC353}"/>
                </a:ext>
              </a:extLst>
            </p:cNvPr>
            <p:cNvSpPr/>
            <p:nvPr/>
          </p:nvSpPr>
          <p:spPr>
            <a:xfrm>
              <a:off x="4954839" y="4213228"/>
              <a:ext cx="904873" cy="838207"/>
            </a:xfrm>
            <a:custGeom>
              <a:avLst/>
              <a:gdLst>
                <a:gd name="connsiteX0" fmla="*/ 845305 w 904875"/>
                <a:gd name="connsiteY0" fmla="*/ 842772 h 838200"/>
                <a:gd name="connsiteX1" fmla="*/ 135407 w 904875"/>
                <a:gd name="connsiteY1" fmla="*/ 842772 h 838200"/>
                <a:gd name="connsiteX2" fmla="*/ 69018 w 904875"/>
                <a:gd name="connsiteY2" fmla="*/ 776383 h 838200"/>
                <a:gd name="connsiteX3" fmla="*/ 69018 w 904875"/>
                <a:gd name="connsiteY3" fmla="*/ 129064 h 838200"/>
                <a:gd name="connsiteX4" fmla="*/ 1581 w 904875"/>
                <a:gd name="connsiteY4" fmla="*/ 16669 h 838200"/>
                <a:gd name="connsiteX5" fmla="*/ 11011 w 904875"/>
                <a:gd name="connsiteY5" fmla="*/ 0 h 838200"/>
                <a:gd name="connsiteX6" fmla="*/ 911694 w 904875"/>
                <a:gd name="connsiteY6" fmla="*/ 0 h 838200"/>
                <a:gd name="connsiteX7" fmla="*/ 911694 w 904875"/>
                <a:gd name="connsiteY7" fmla="*/ 776287 h 838200"/>
                <a:gd name="connsiteX8" fmla="*/ 845305 w 904875"/>
                <a:gd name="connsiteY8" fmla="*/ 842772 h 838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04875" h="838200">
                  <a:moveTo>
                    <a:pt x="845305" y="842772"/>
                  </a:moveTo>
                  <a:lnTo>
                    <a:pt x="135407" y="842772"/>
                  </a:lnTo>
                  <a:cubicBezTo>
                    <a:pt x="98736" y="842772"/>
                    <a:pt x="69018" y="813054"/>
                    <a:pt x="69018" y="776383"/>
                  </a:cubicBezTo>
                  <a:lnTo>
                    <a:pt x="69018" y="129064"/>
                  </a:lnTo>
                  <a:lnTo>
                    <a:pt x="1581" y="16669"/>
                  </a:lnTo>
                  <a:cubicBezTo>
                    <a:pt x="-2801" y="9334"/>
                    <a:pt x="2438" y="0"/>
                    <a:pt x="11011" y="0"/>
                  </a:cubicBezTo>
                  <a:lnTo>
                    <a:pt x="911694" y="0"/>
                  </a:lnTo>
                  <a:lnTo>
                    <a:pt x="911694" y="776287"/>
                  </a:lnTo>
                  <a:cubicBezTo>
                    <a:pt x="911600" y="813054"/>
                    <a:pt x="881977" y="842772"/>
                    <a:pt x="845305" y="842772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59A6F929-3F8F-4058-AFBD-3AC2E5EC5D87}"/>
                </a:ext>
              </a:extLst>
            </p:cNvPr>
            <p:cNvSpPr/>
            <p:nvPr/>
          </p:nvSpPr>
          <p:spPr>
            <a:xfrm>
              <a:off x="5044622" y="4621758"/>
              <a:ext cx="800099" cy="409579"/>
            </a:xfrm>
            <a:custGeom>
              <a:avLst/>
              <a:gdLst>
                <a:gd name="connsiteX0" fmla="*/ 0 w 800100"/>
                <a:gd name="connsiteY0" fmla="*/ 17907 h 409575"/>
                <a:gd name="connsiteX1" fmla="*/ 0 w 800100"/>
                <a:gd name="connsiteY1" fmla="*/ 367855 h 409575"/>
                <a:gd name="connsiteX2" fmla="*/ 45529 w 800100"/>
                <a:gd name="connsiteY2" fmla="*/ 413385 h 409575"/>
                <a:gd name="connsiteX3" fmla="*/ 755523 w 800100"/>
                <a:gd name="connsiteY3" fmla="*/ 413385 h 409575"/>
                <a:gd name="connsiteX4" fmla="*/ 801053 w 800100"/>
                <a:gd name="connsiteY4" fmla="*/ 367855 h 409575"/>
                <a:gd name="connsiteX5" fmla="*/ 801053 w 800100"/>
                <a:gd name="connsiteY5" fmla="*/ 0 h 409575"/>
                <a:gd name="connsiteX6" fmla="*/ 0 w 800100"/>
                <a:gd name="connsiteY6" fmla="*/ 17907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00100" h="409575">
                  <a:moveTo>
                    <a:pt x="0" y="17907"/>
                  </a:moveTo>
                  <a:lnTo>
                    <a:pt x="0" y="367855"/>
                  </a:lnTo>
                  <a:cubicBezTo>
                    <a:pt x="0" y="393002"/>
                    <a:pt x="20384" y="413385"/>
                    <a:pt x="45529" y="413385"/>
                  </a:cubicBezTo>
                  <a:lnTo>
                    <a:pt x="755523" y="413385"/>
                  </a:lnTo>
                  <a:cubicBezTo>
                    <a:pt x="780669" y="413385"/>
                    <a:pt x="801053" y="393002"/>
                    <a:pt x="801053" y="367855"/>
                  </a:cubicBezTo>
                  <a:lnTo>
                    <a:pt x="801053" y="0"/>
                  </a:lnTo>
                  <a:cubicBezTo>
                    <a:pt x="552069" y="83248"/>
                    <a:pt x="263843" y="-25908"/>
                    <a:pt x="0" y="17907"/>
                  </a:cubicBezTo>
                  <a:close/>
                </a:path>
              </a:pathLst>
            </a:custGeom>
            <a:solidFill>
              <a:srgbClr val="1DA9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5FE6EB2A-8A83-423B-B85A-7427AF8AB82F}"/>
                </a:ext>
              </a:extLst>
            </p:cNvPr>
            <p:cNvSpPr/>
            <p:nvPr/>
          </p:nvSpPr>
          <p:spPr>
            <a:xfrm>
              <a:off x="7235939" y="5314231"/>
              <a:ext cx="723899" cy="657231"/>
            </a:xfrm>
            <a:custGeom>
              <a:avLst/>
              <a:gdLst>
                <a:gd name="connsiteX0" fmla="*/ 47625 w 723900"/>
                <a:gd name="connsiteY0" fmla="*/ 663226 h 657225"/>
                <a:gd name="connsiteX1" fmla="*/ 676084 w 723900"/>
                <a:gd name="connsiteY1" fmla="*/ 663226 h 657225"/>
                <a:gd name="connsiteX2" fmla="*/ 723615 w 723900"/>
                <a:gd name="connsiteY2" fmla="*/ 615696 h 657225"/>
                <a:gd name="connsiteX3" fmla="*/ 723615 w 723900"/>
                <a:gd name="connsiteY3" fmla="*/ 110776 h 657225"/>
                <a:gd name="connsiteX4" fmla="*/ 724948 w 723900"/>
                <a:gd name="connsiteY4" fmla="*/ 16859 h 657225"/>
                <a:gd name="connsiteX5" fmla="*/ 708279 w 723900"/>
                <a:gd name="connsiteY5" fmla="*/ 0 h 657225"/>
                <a:gd name="connsiteX6" fmla="*/ 16669 w 723900"/>
                <a:gd name="connsiteY6" fmla="*/ 0 h 657225"/>
                <a:gd name="connsiteX7" fmla="*/ 0 w 723900"/>
                <a:gd name="connsiteY7" fmla="*/ 16669 h 657225"/>
                <a:gd name="connsiteX8" fmla="*/ 0 w 723900"/>
                <a:gd name="connsiteY8" fmla="*/ 615696 h 657225"/>
                <a:gd name="connsiteX9" fmla="*/ 47625 w 723900"/>
                <a:gd name="connsiteY9" fmla="*/ 663226 h 657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3900" h="657225">
                  <a:moveTo>
                    <a:pt x="47625" y="663226"/>
                  </a:moveTo>
                  <a:lnTo>
                    <a:pt x="676084" y="663226"/>
                  </a:lnTo>
                  <a:cubicBezTo>
                    <a:pt x="702373" y="663226"/>
                    <a:pt x="723615" y="641985"/>
                    <a:pt x="723615" y="615696"/>
                  </a:cubicBezTo>
                  <a:lnTo>
                    <a:pt x="723615" y="110776"/>
                  </a:lnTo>
                  <a:lnTo>
                    <a:pt x="724948" y="16859"/>
                  </a:lnTo>
                  <a:cubicBezTo>
                    <a:pt x="725043" y="7620"/>
                    <a:pt x="717614" y="0"/>
                    <a:pt x="708279" y="0"/>
                  </a:cubicBezTo>
                  <a:lnTo>
                    <a:pt x="16669" y="0"/>
                  </a:lnTo>
                  <a:cubicBezTo>
                    <a:pt x="7430" y="0"/>
                    <a:pt x="0" y="7429"/>
                    <a:pt x="0" y="16669"/>
                  </a:cubicBezTo>
                  <a:lnTo>
                    <a:pt x="0" y="615696"/>
                  </a:lnTo>
                  <a:cubicBezTo>
                    <a:pt x="95" y="641890"/>
                    <a:pt x="21336" y="663226"/>
                    <a:pt x="47625" y="663226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E0A5EF11-A9DC-4B2B-94E9-A6B34D3B5C54}"/>
                </a:ext>
              </a:extLst>
            </p:cNvPr>
            <p:cNvSpPr/>
            <p:nvPr/>
          </p:nvSpPr>
          <p:spPr>
            <a:xfrm>
              <a:off x="7263372" y="5604555"/>
              <a:ext cx="666749" cy="342902"/>
            </a:xfrm>
            <a:custGeom>
              <a:avLst/>
              <a:gdLst>
                <a:gd name="connsiteX0" fmla="*/ 668846 w 666750"/>
                <a:gd name="connsiteY0" fmla="*/ 14954 h 342900"/>
                <a:gd name="connsiteX1" fmla="*/ 668846 w 666750"/>
                <a:gd name="connsiteY1" fmla="*/ 316325 h 342900"/>
                <a:gd name="connsiteX2" fmla="*/ 639985 w 666750"/>
                <a:gd name="connsiteY2" fmla="*/ 345186 h 342900"/>
                <a:gd name="connsiteX3" fmla="*/ 28861 w 666750"/>
                <a:gd name="connsiteY3" fmla="*/ 345186 h 342900"/>
                <a:gd name="connsiteX4" fmla="*/ 0 w 666750"/>
                <a:gd name="connsiteY4" fmla="*/ 316325 h 342900"/>
                <a:gd name="connsiteX5" fmla="*/ 0 w 666750"/>
                <a:gd name="connsiteY5" fmla="*/ 0 h 342900"/>
                <a:gd name="connsiteX6" fmla="*/ 668846 w 666750"/>
                <a:gd name="connsiteY6" fmla="*/ 14954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6750" h="342900">
                  <a:moveTo>
                    <a:pt x="668846" y="14954"/>
                  </a:moveTo>
                  <a:lnTo>
                    <a:pt x="668846" y="316325"/>
                  </a:lnTo>
                  <a:cubicBezTo>
                    <a:pt x="668846" y="332232"/>
                    <a:pt x="655891" y="345186"/>
                    <a:pt x="639985" y="345186"/>
                  </a:cubicBezTo>
                  <a:lnTo>
                    <a:pt x="28861" y="345186"/>
                  </a:lnTo>
                  <a:cubicBezTo>
                    <a:pt x="12954" y="345186"/>
                    <a:pt x="0" y="332232"/>
                    <a:pt x="0" y="316325"/>
                  </a:cubicBezTo>
                  <a:lnTo>
                    <a:pt x="0" y="0"/>
                  </a:lnTo>
                  <a:cubicBezTo>
                    <a:pt x="207931" y="69437"/>
                    <a:pt x="448533" y="-21622"/>
                    <a:pt x="668846" y="14954"/>
                  </a:cubicBezTo>
                  <a:close/>
                </a:path>
              </a:pathLst>
            </a:custGeom>
            <a:solidFill>
              <a:srgbClr val="08B68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CFB771F6-87DD-4BB2-BD1E-9E8B018BEB83}"/>
                </a:ext>
              </a:extLst>
            </p:cNvPr>
            <p:cNvSpPr/>
            <p:nvPr/>
          </p:nvSpPr>
          <p:spPr>
            <a:xfrm>
              <a:off x="5165780" y="5912310"/>
              <a:ext cx="1142998" cy="66675"/>
            </a:xfrm>
            <a:custGeom>
              <a:avLst/>
              <a:gdLst>
                <a:gd name="connsiteX0" fmla="*/ 149162 w 1143000"/>
                <a:gd name="connsiteY0" fmla="*/ 0 h 66675"/>
                <a:gd name="connsiteX1" fmla="*/ 1114044 w 1143000"/>
                <a:gd name="connsiteY1" fmla="*/ 0 h 66675"/>
                <a:gd name="connsiteX2" fmla="*/ 1148429 w 1143000"/>
                <a:gd name="connsiteY2" fmla="*/ 34385 h 66675"/>
                <a:gd name="connsiteX3" fmla="*/ 1148429 w 1143000"/>
                <a:gd name="connsiteY3" fmla="*/ 73628 h 66675"/>
                <a:gd name="connsiteX4" fmla="*/ 0 w 1143000"/>
                <a:gd name="connsiteY4" fmla="*/ 73628 h 66675"/>
                <a:gd name="connsiteX5" fmla="*/ 2477 w 1143000"/>
                <a:gd name="connsiteY5" fmla="*/ 70580 h 66675"/>
                <a:gd name="connsiteX6" fmla="*/ 149162 w 1143000"/>
                <a:gd name="connsiteY6" fmla="*/ 0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3000" h="66675">
                  <a:moveTo>
                    <a:pt x="149162" y="0"/>
                  </a:moveTo>
                  <a:lnTo>
                    <a:pt x="1114044" y="0"/>
                  </a:lnTo>
                  <a:cubicBezTo>
                    <a:pt x="1132999" y="0"/>
                    <a:pt x="1148429" y="15335"/>
                    <a:pt x="1148429" y="34385"/>
                  </a:cubicBezTo>
                  <a:lnTo>
                    <a:pt x="1148429" y="73628"/>
                  </a:lnTo>
                  <a:lnTo>
                    <a:pt x="0" y="73628"/>
                  </a:lnTo>
                  <a:lnTo>
                    <a:pt x="2477" y="70580"/>
                  </a:lnTo>
                  <a:cubicBezTo>
                    <a:pt x="38100" y="26003"/>
                    <a:pt x="92107" y="0"/>
                    <a:pt x="149162" y="0"/>
                  </a:cubicBezTo>
                  <a:close/>
                </a:path>
              </a:pathLst>
            </a:custGeom>
            <a:solidFill>
              <a:srgbClr val="FFDB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A1DB52D4-7411-4714-A346-56541CF55FD5}"/>
                </a:ext>
              </a:extLst>
            </p:cNvPr>
            <p:cNvSpPr/>
            <p:nvPr/>
          </p:nvSpPr>
          <p:spPr>
            <a:xfrm>
              <a:off x="5957020" y="4437733"/>
              <a:ext cx="342899" cy="342902"/>
            </a:xfrm>
            <a:custGeom>
              <a:avLst/>
              <a:gdLst>
                <a:gd name="connsiteX0" fmla="*/ 352235 w 342900"/>
                <a:gd name="connsiteY0" fmla="*/ 176117 h 342900"/>
                <a:gd name="connsiteX1" fmla="*/ 176117 w 342900"/>
                <a:gd name="connsiteY1" fmla="*/ 352235 h 342900"/>
                <a:gd name="connsiteX2" fmla="*/ 0 w 342900"/>
                <a:gd name="connsiteY2" fmla="*/ 176117 h 342900"/>
                <a:gd name="connsiteX3" fmla="*/ 176117 w 342900"/>
                <a:gd name="connsiteY3" fmla="*/ 0 h 342900"/>
                <a:gd name="connsiteX4" fmla="*/ 352235 w 342900"/>
                <a:gd name="connsiteY4" fmla="*/ 176117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900" h="342900">
                  <a:moveTo>
                    <a:pt x="352235" y="176117"/>
                  </a:moveTo>
                  <a:cubicBezTo>
                    <a:pt x="352235" y="273384"/>
                    <a:pt x="273384" y="352235"/>
                    <a:pt x="176117" y="352235"/>
                  </a:cubicBezTo>
                  <a:cubicBezTo>
                    <a:pt x="78851" y="352235"/>
                    <a:pt x="0" y="273384"/>
                    <a:pt x="0" y="176117"/>
                  </a:cubicBezTo>
                  <a:cubicBezTo>
                    <a:pt x="0" y="78850"/>
                    <a:pt x="78851" y="0"/>
                    <a:pt x="176117" y="0"/>
                  </a:cubicBezTo>
                  <a:cubicBezTo>
                    <a:pt x="273384" y="0"/>
                    <a:pt x="352235" y="78850"/>
                    <a:pt x="352235" y="176117"/>
                  </a:cubicBezTo>
                  <a:close/>
                </a:path>
              </a:pathLst>
            </a:custGeom>
            <a:solidFill>
              <a:srgbClr val="FFDB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759216C0-EB99-42AB-AF1D-8058BD879AB7}"/>
                </a:ext>
              </a:extLst>
            </p:cNvPr>
            <p:cNvSpPr/>
            <p:nvPr/>
          </p:nvSpPr>
          <p:spPr>
            <a:xfrm>
              <a:off x="5366774" y="5087534"/>
              <a:ext cx="152400" cy="228602"/>
            </a:xfrm>
            <a:custGeom>
              <a:avLst/>
              <a:gdLst>
                <a:gd name="connsiteX0" fmla="*/ 21698 w 152400"/>
                <a:gd name="connsiteY0" fmla="*/ 111633 h 228600"/>
                <a:gd name="connsiteX1" fmla="*/ 19603 w 152400"/>
                <a:gd name="connsiteY1" fmla="*/ 152495 h 228600"/>
                <a:gd name="connsiteX2" fmla="*/ 55036 w 152400"/>
                <a:gd name="connsiteY2" fmla="*/ 97631 h 228600"/>
                <a:gd name="connsiteX3" fmla="*/ 79134 w 152400"/>
                <a:gd name="connsiteY3" fmla="*/ 0 h 228600"/>
                <a:gd name="connsiteX4" fmla="*/ 126759 w 152400"/>
                <a:gd name="connsiteY4" fmla="*/ 39338 h 228600"/>
                <a:gd name="connsiteX5" fmla="*/ 153715 w 152400"/>
                <a:gd name="connsiteY5" fmla="*/ 144113 h 228600"/>
                <a:gd name="connsiteX6" fmla="*/ 59798 w 152400"/>
                <a:gd name="connsiteY6" fmla="*/ 235077 h 228600"/>
                <a:gd name="connsiteX7" fmla="*/ 21698 w 152400"/>
                <a:gd name="connsiteY7" fmla="*/ 111633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400" h="228600">
                  <a:moveTo>
                    <a:pt x="21698" y="111633"/>
                  </a:moveTo>
                  <a:cubicBezTo>
                    <a:pt x="14269" y="123730"/>
                    <a:pt x="13412" y="139732"/>
                    <a:pt x="19603" y="152495"/>
                  </a:cubicBezTo>
                  <a:cubicBezTo>
                    <a:pt x="18936" y="130112"/>
                    <a:pt x="40272" y="114491"/>
                    <a:pt x="55036" y="97631"/>
                  </a:cubicBezTo>
                  <a:cubicBezTo>
                    <a:pt x="77991" y="71438"/>
                    <a:pt x="87230" y="33814"/>
                    <a:pt x="79134" y="0"/>
                  </a:cubicBezTo>
                  <a:cubicBezTo>
                    <a:pt x="99708" y="4763"/>
                    <a:pt x="115424" y="21527"/>
                    <a:pt x="126759" y="39338"/>
                  </a:cubicBezTo>
                  <a:cubicBezTo>
                    <a:pt x="146476" y="70295"/>
                    <a:pt x="157144" y="107537"/>
                    <a:pt x="153715" y="144113"/>
                  </a:cubicBezTo>
                  <a:cubicBezTo>
                    <a:pt x="149810" y="185738"/>
                    <a:pt x="113424" y="252413"/>
                    <a:pt x="59798" y="235077"/>
                  </a:cubicBezTo>
                  <a:cubicBezTo>
                    <a:pt x="3982" y="217075"/>
                    <a:pt x="-21355" y="151733"/>
                    <a:pt x="21698" y="111633"/>
                  </a:cubicBezTo>
                  <a:close/>
                </a:path>
              </a:pathLst>
            </a:custGeom>
            <a:solidFill>
              <a:srgbClr val="FBC7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8929524C-8893-4A5B-99D5-053F48C03F9D}"/>
                </a:ext>
              </a:extLst>
            </p:cNvPr>
            <p:cNvSpPr/>
            <p:nvPr/>
          </p:nvSpPr>
          <p:spPr>
            <a:xfrm>
              <a:off x="5397532" y="5196787"/>
              <a:ext cx="85725" cy="123826"/>
            </a:xfrm>
            <a:custGeom>
              <a:avLst/>
              <a:gdLst>
                <a:gd name="connsiteX0" fmla="*/ 4562 w 85725"/>
                <a:gd name="connsiteY0" fmla="*/ 100679 h 123825"/>
                <a:gd name="connsiteX1" fmla="*/ 4467 w 85725"/>
                <a:gd name="connsiteY1" fmla="*/ 69056 h 123825"/>
                <a:gd name="connsiteX2" fmla="*/ 10182 w 85725"/>
                <a:gd name="connsiteY2" fmla="*/ 84582 h 123825"/>
                <a:gd name="connsiteX3" fmla="*/ 21897 w 85725"/>
                <a:gd name="connsiteY3" fmla="*/ 58293 h 123825"/>
                <a:gd name="connsiteX4" fmla="*/ 47139 w 85725"/>
                <a:gd name="connsiteY4" fmla="*/ 41529 h 123825"/>
                <a:gd name="connsiteX5" fmla="*/ 69141 w 85725"/>
                <a:gd name="connsiteY5" fmla="*/ 0 h 123825"/>
                <a:gd name="connsiteX6" fmla="*/ 72189 w 85725"/>
                <a:gd name="connsiteY6" fmla="*/ 73723 h 123825"/>
                <a:gd name="connsiteX7" fmla="*/ 89620 w 85725"/>
                <a:gd name="connsiteY7" fmla="*/ 54673 h 123825"/>
                <a:gd name="connsiteX8" fmla="*/ 78762 w 85725"/>
                <a:gd name="connsiteY8" fmla="*/ 101918 h 123825"/>
                <a:gd name="connsiteX9" fmla="*/ 4562 w 85725"/>
                <a:gd name="connsiteY9" fmla="*/ 100679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5725" h="123825">
                  <a:moveTo>
                    <a:pt x="4562" y="100679"/>
                  </a:moveTo>
                  <a:cubicBezTo>
                    <a:pt x="-867" y="90964"/>
                    <a:pt x="-2105" y="78010"/>
                    <a:pt x="4467" y="69056"/>
                  </a:cubicBezTo>
                  <a:cubicBezTo>
                    <a:pt x="5229" y="74581"/>
                    <a:pt x="7229" y="79915"/>
                    <a:pt x="10182" y="84582"/>
                  </a:cubicBezTo>
                  <a:cubicBezTo>
                    <a:pt x="7896" y="74771"/>
                    <a:pt x="14182" y="64770"/>
                    <a:pt x="21897" y="58293"/>
                  </a:cubicBezTo>
                  <a:cubicBezTo>
                    <a:pt x="29708" y="51911"/>
                    <a:pt x="39138" y="47720"/>
                    <a:pt x="47139" y="41529"/>
                  </a:cubicBezTo>
                  <a:cubicBezTo>
                    <a:pt x="59807" y="31528"/>
                    <a:pt x="67998" y="16097"/>
                    <a:pt x="69141" y="0"/>
                  </a:cubicBezTo>
                  <a:cubicBezTo>
                    <a:pt x="75333" y="24289"/>
                    <a:pt x="81429" y="50483"/>
                    <a:pt x="72189" y="73723"/>
                  </a:cubicBezTo>
                  <a:cubicBezTo>
                    <a:pt x="79333" y="68866"/>
                    <a:pt x="85429" y="62294"/>
                    <a:pt x="89620" y="54673"/>
                  </a:cubicBezTo>
                  <a:cubicBezTo>
                    <a:pt x="94383" y="70771"/>
                    <a:pt x="89430" y="88868"/>
                    <a:pt x="78762" y="101918"/>
                  </a:cubicBezTo>
                  <a:cubicBezTo>
                    <a:pt x="55425" y="130588"/>
                    <a:pt x="23612" y="134779"/>
                    <a:pt x="4562" y="100679"/>
                  </a:cubicBezTo>
                  <a:close/>
                </a:path>
              </a:pathLst>
            </a:custGeom>
            <a:solidFill>
              <a:srgbClr val="F9A60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EAB4C8E8-E059-40D4-9141-FFED0A165B3A}"/>
                </a:ext>
              </a:extLst>
            </p:cNvPr>
            <p:cNvSpPr/>
            <p:nvPr/>
          </p:nvSpPr>
          <p:spPr>
            <a:xfrm>
              <a:off x="5313988" y="5341568"/>
              <a:ext cx="257175" cy="38100"/>
            </a:xfrm>
            <a:custGeom>
              <a:avLst/>
              <a:gdLst>
                <a:gd name="connsiteX0" fmla="*/ 45434 w 257175"/>
                <a:gd name="connsiteY0" fmla="*/ 0 h 38100"/>
                <a:gd name="connsiteX1" fmla="*/ 214598 w 257175"/>
                <a:gd name="connsiteY1" fmla="*/ 0 h 38100"/>
                <a:gd name="connsiteX2" fmla="*/ 260033 w 257175"/>
                <a:gd name="connsiteY2" fmla="*/ 45434 h 38100"/>
                <a:gd name="connsiteX3" fmla="*/ 260033 w 257175"/>
                <a:gd name="connsiteY3" fmla="*/ 45434 h 38100"/>
                <a:gd name="connsiteX4" fmla="*/ 0 w 257175"/>
                <a:gd name="connsiteY4" fmla="*/ 45434 h 38100"/>
                <a:gd name="connsiteX5" fmla="*/ 0 w 257175"/>
                <a:gd name="connsiteY5" fmla="*/ 45434 h 38100"/>
                <a:gd name="connsiteX6" fmla="*/ 45434 w 257175"/>
                <a:gd name="connsiteY6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175" h="38100">
                  <a:moveTo>
                    <a:pt x="45434" y="0"/>
                  </a:moveTo>
                  <a:lnTo>
                    <a:pt x="214598" y="0"/>
                  </a:lnTo>
                  <a:cubicBezTo>
                    <a:pt x="239649" y="0"/>
                    <a:pt x="260033" y="20288"/>
                    <a:pt x="260033" y="45434"/>
                  </a:cubicBezTo>
                  <a:lnTo>
                    <a:pt x="260033" y="45434"/>
                  </a:lnTo>
                  <a:lnTo>
                    <a:pt x="0" y="45434"/>
                  </a:lnTo>
                  <a:lnTo>
                    <a:pt x="0" y="45434"/>
                  </a:lnTo>
                  <a:cubicBezTo>
                    <a:pt x="0" y="20288"/>
                    <a:pt x="20288" y="0"/>
                    <a:pt x="45434" y="0"/>
                  </a:cubicBezTo>
                  <a:close/>
                </a:path>
              </a:pathLst>
            </a:custGeom>
            <a:solidFill>
              <a:srgbClr val="2D406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3BE65216-D4E4-4618-BC46-CE72C1CA4550}"/>
                </a:ext>
              </a:extLst>
            </p:cNvPr>
            <p:cNvSpPr/>
            <p:nvPr/>
          </p:nvSpPr>
          <p:spPr>
            <a:xfrm>
              <a:off x="6095702" y="4547176"/>
              <a:ext cx="104775" cy="104776"/>
            </a:xfrm>
            <a:custGeom>
              <a:avLst/>
              <a:gdLst>
                <a:gd name="connsiteX0" fmla="*/ 113348 w 104775"/>
                <a:gd name="connsiteY0" fmla="*/ 1 h 104775"/>
                <a:gd name="connsiteX1" fmla="*/ 0 w 104775"/>
                <a:gd name="connsiteY1" fmla="*/ 3811 h 104775"/>
                <a:gd name="connsiteX2" fmla="*/ 0 w 104775"/>
                <a:gd name="connsiteY2" fmla="*/ 109729 h 104775"/>
                <a:gd name="connsiteX3" fmla="*/ 113348 w 104775"/>
                <a:gd name="connsiteY3" fmla="*/ 85155 h 104775"/>
                <a:gd name="connsiteX4" fmla="*/ 113348 w 104775"/>
                <a:gd name="connsiteY4" fmla="*/ 1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775" h="104775">
                  <a:moveTo>
                    <a:pt x="113348" y="1"/>
                  </a:moveTo>
                  <a:cubicBezTo>
                    <a:pt x="75534" y="1"/>
                    <a:pt x="37815" y="-189"/>
                    <a:pt x="0" y="3811"/>
                  </a:cubicBezTo>
                  <a:lnTo>
                    <a:pt x="0" y="109729"/>
                  </a:lnTo>
                  <a:cubicBezTo>
                    <a:pt x="37815" y="101347"/>
                    <a:pt x="75534" y="93251"/>
                    <a:pt x="113348" y="85155"/>
                  </a:cubicBezTo>
                  <a:lnTo>
                    <a:pt x="113348" y="1"/>
                  </a:lnTo>
                  <a:close/>
                </a:path>
              </a:pathLst>
            </a:custGeom>
            <a:solidFill>
              <a:srgbClr val="FFDB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206231D8-5CDA-462B-86D5-BF654F9AA590}"/>
                </a:ext>
              </a:extLst>
            </p:cNvPr>
            <p:cNvSpPr/>
            <p:nvPr/>
          </p:nvSpPr>
          <p:spPr>
            <a:xfrm>
              <a:off x="6095702" y="4632234"/>
              <a:ext cx="104775" cy="1295410"/>
            </a:xfrm>
            <a:custGeom>
              <a:avLst/>
              <a:gdLst>
                <a:gd name="connsiteX0" fmla="*/ 0 w 104775"/>
                <a:gd name="connsiteY0" fmla="*/ 24574 h 1295400"/>
                <a:gd name="connsiteX1" fmla="*/ 0 w 104775"/>
                <a:gd name="connsiteY1" fmla="*/ 1300448 h 1295400"/>
                <a:gd name="connsiteX2" fmla="*/ 113348 w 104775"/>
                <a:gd name="connsiteY2" fmla="*/ 1300448 h 1295400"/>
                <a:gd name="connsiteX3" fmla="*/ 113348 w 104775"/>
                <a:gd name="connsiteY3" fmla="*/ 0 h 1295400"/>
                <a:gd name="connsiteX4" fmla="*/ 0 w 104775"/>
                <a:gd name="connsiteY4" fmla="*/ 24574 h 129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775" h="1295400">
                  <a:moveTo>
                    <a:pt x="0" y="24574"/>
                  </a:moveTo>
                  <a:lnTo>
                    <a:pt x="0" y="1300448"/>
                  </a:lnTo>
                  <a:lnTo>
                    <a:pt x="113348" y="1300448"/>
                  </a:lnTo>
                  <a:lnTo>
                    <a:pt x="113348" y="0"/>
                  </a:lnTo>
                  <a:cubicBezTo>
                    <a:pt x="75534" y="8191"/>
                    <a:pt x="37719" y="16192"/>
                    <a:pt x="0" y="24574"/>
                  </a:cubicBezTo>
                  <a:close/>
                </a:path>
              </a:pathLst>
            </a:custGeom>
            <a:solidFill>
              <a:srgbClr val="FFDB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A3ABDE11-09F4-4229-86EC-116ADDDB9B90}"/>
                </a:ext>
              </a:extLst>
            </p:cNvPr>
            <p:cNvSpPr/>
            <p:nvPr/>
          </p:nvSpPr>
          <p:spPr>
            <a:xfrm>
              <a:off x="6095702" y="4135786"/>
              <a:ext cx="104775" cy="409578"/>
            </a:xfrm>
            <a:custGeom>
              <a:avLst/>
              <a:gdLst>
                <a:gd name="connsiteX0" fmla="*/ 113348 w 104775"/>
                <a:gd name="connsiteY0" fmla="*/ 411385 h 409575"/>
                <a:gd name="connsiteX1" fmla="*/ 113348 w 104775"/>
                <a:gd name="connsiteY1" fmla="*/ 0 h 409575"/>
                <a:gd name="connsiteX2" fmla="*/ 0 w 104775"/>
                <a:gd name="connsiteY2" fmla="*/ 0 h 409575"/>
                <a:gd name="connsiteX3" fmla="*/ 0 w 104775"/>
                <a:gd name="connsiteY3" fmla="*/ 415195 h 409575"/>
                <a:gd name="connsiteX4" fmla="*/ 113348 w 104775"/>
                <a:gd name="connsiteY4" fmla="*/ 411385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775" h="409575">
                  <a:moveTo>
                    <a:pt x="113348" y="411385"/>
                  </a:moveTo>
                  <a:lnTo>
                    <a:pt x="113348" y="0"/>
                  </a:lnTo>
                  <a:lnTo>
                    <a:pt x="0" y="0"/>
                  </a:lnTo>
                  <a:lnTo>
                    <a:pt x="0" y="415195"/>
                  </a:lnTo>
                  <a:cubicBezTo>
                    <a:pt x="37719" y="411194"/>
                    <a:pt x="75534" y="411385"/>
                    <a:pt x="113348" y="411385"/>
                  </a:cubicBezTo>
                  <a:close/>
                </a:path>
              </a:pathLst>
            </a:custGeom>
            <a:solidFill>
              <a:srgbClr val="FFDB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A08D1417-123E-4E49-8995-E5D7E20FCF8F}"/>
                </a:ext>
              </a:extLst>
            </p:cNvPr>
            <p:cNvSpPr/>
            <p:nvPr/>
          </p:nvSpPr>
          <p:spPr>
            <a:xfrm>
              <a:off x="4836500" y="4522314"/>
              <a:ext cx="1419223" cy="66675"/>
            </a:xfrm>
            <a:custGeom>
              <a:avLst/>
              <a:gdLst>
                <a:gd name="connsiteX0" fmla="*/ 1396937 w 1419225"/>
                <a:gd name="connsiteY0" fmla="*/ 66866 h 66675"/>
                <a:gd name="connsiteX1" fmla="*/ 13621 w 1419225"/>
                <a:gd name="connsiteY1" fmla="*/ 66866 h 66675"/>
                <a:gd name="connsiteX2" fmla="*/ 0 w 1419225"/>
                <a:gd name="connsiteY2" fmla="*/ 53245 h 66675"/>
                <a:gd name="connsiteX3" fmla="*/ 0 w 1419225"/>
                <a:gd name="connsiteY3" fmla="*/ 13621 h 66675"/>
                <a:gd name="connsiteX4" fmla="*/ 13621 w 1419225"/>
                <a:gd name="connsiteY4" fmla="*/ 0 h 66675"/>
                <a:gd name="connsiteX5" fmla="*/ 1412177 w 1419225"/>
                <a:gd name="connsiteY5" fmla="*/ 0 h 66675"/>
                <a:gd name="connsiteX6" fmla="*/ 1424845 w 1419225"/>
                <a:gd name="connsiteY6" fmla="*/ 18479 h 66675"/>
                <a:gd name="connsiteX7" fmla="*/ 1409510 w 1419225"/>
                <a:gd name="connsiteY7" fmla="*/ 58103 h 66675"/>
                <a:gd name="connsiteX8" fmla="*/ 1396937 w 1419225"/>
                <a:gd name="connsiteY8" fmla="*/ 6686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19225" h="66675">
                  <a:moveTo>
                    <a:pt x="1396937" y="66866"/>
                  </a:moveTo>
                  <a:lnTo>
                    <a:pt x="13621" y="66866"/>
                  </a:lnTo>
                  <a:cubicBezTo>
                    <a:pt x="6096" y="66866"/>
                    <a:pt x="0" y="60770"/>
                    <a:pt x="0" y="53245"/>
                  </a:cubicBezTo>
                  <a:lnTo>
                    <a:pt x="0" y="13621"/>
                  </a:lnTo>
                  <a:cubicBezTo>
                    <a:pt x="0" y="6096"/>
                    <a:pt x="6096" y="0"/>
                    <a:pt x="13621" y="0"/>
                  </a:cubicBezTo>
                  <a:lnTo>
                    <a:pt x="1412177" y="0"/>
                  </a:lnTo>
                  <a:cubicBezTo>
                    <a:pt x="1421702" y="0"/>
                    <a:pt x="1428274" y="9620"/>
                    <a:pt x="1424845" y="18479"/>
                  </a:cubicBezTo>
                  <a:lnTo>
                    <a:pt x="1409510" y="58103"/>
                  </a:lnTo>
                  <a:cubicBezTo>
                    <a:pt x="1407605" y="63437"/>
                    <a:pt x="1402557" y="66866"/>
                    <a:pt x="1396937" y="66866"/>
                  </a:cubicBezTo>
                  <a:close/>
                </a:path>
              </a:pathLst>
            </a:custGeom>
            <a:solidFill>
              <a:srgbClr val="FFDB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C574E351-6F7F-43B6-BA30-4BDA50EAD58E}"/>
                </a:ext>
              </a:extLst>
            </p:cNvPr>
            <p:cNvSpPr/>
            <p:nvPr/>
          </p:nvSpPr>
          <p:spPr>
            <a:xfrm>
              <a:off x="5066148" y="5375094"/>
              <a:ext cx="1066799" cy="28575"/>
            </a:xfrm>
            <a:custGeom>
              <a:avLst/>
              <a:gdLst>
                <a:gd name="connsiteX0" fmla="*/ 1048322 w 1066800"/>
                <a:gd name="connsiteY0" fmla="*/ 35147 h 28575"/>
                <a:gd name="connsiteX1" fmla="*/ 10192 w 1066800"/>
                <a:gd name="connsiteY1" fmla="*/ 35147 h 28575"/>
                <a:gd name="connsiteX2" fmla="*/ 0 w 1066800"/>
                <a:gd name="connsiteY2" fmla="*/ 28004 h 28575"/>
                <a:gd name="connsiteX3" fmla="*/ 0 w 1066800"/>
                <a:gd name="connsiteY3" fmla="*/ 7144 h 28575"/>
                <a:gd name="connsiteX4" fmla="*/ 10192 w 1066800"/>
                <a:gd name="connsiteY4" fmla="*/ 0 h 28575"/>
                <a:gd name="connsiteX5" fmla="*/ 1059847 w 1066800"/>
                <a:gd name="connsiteY5" fmla="*/ 0 h 28575"/>
                <a:gd name="connsiteX6" fmla="*/ 1069372 w 1066800"/>
                <a:gd name="connsiteY6" fmla="*/ 9715 h 28575"/>
                <a:gd name="connsiteX7" fmla="*/ 1057847 w 1066800"/>
                <a:gd name="connsiteY7" fmla="*/ 30575 h 28575"/>
                <a:gd name="connsiteX8" fmla="*/ 1048322 w 1066800"/>
                <a:gd name="connsiteY8" fmla="*/ 35147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66800" h="28575">
                  <a:moveTo>
                    <a:pt x="1048322" y="35147"/>
                  </a:moveTo>
                  <a:lnTo>
                    <a:pt x="10192" y="35147"/>
                  </a:lnTo>
                  <a:cubicBezTo>
                    <a:pt x="4572" y="35147"/>
                    <a:pt x="0" y="31909"/>
                    <a:pt x="0" y="28004"/>
                  </a:cubicBezTo>
                  <a:lnTo>
                    <a:pt x="0" y="7144"/>
                  </a:lnTo>
                  <a:cubicBezTo>
                    <a:pt x="0" y="3238"/>
                    <a:pt x="4572" y="0"/>
                    <a:pt x="10192" y="0"/>
                  </a:cubicBezTo>
                  <a:lnTo>
                    <a:pt x="1059847" y="0"/>
                  </a:lnTo>
                  <a:cubicBezTo>
                    <a:pt x="1066991" y="0"/>
                    <a:pt x="1071943" y="5048"/>
                    <a:pt x="1069372" y="9715"/>
                  </a:cubicBezTo>
                  <a:lnTo>
                    <a:pt x="1057847" y="30575"/>
                  </a:lnTo>
                  <a:cubicBezTo>
                    <a:pt x="1056323" y="33242"/>
                    <a:pt x="1052513" y="35147"/>
                    <a:pt x="1048322" y="35147"/>
                  </a:cubicBezTo>
                  <a:close/>
                </a:path>
              </a:pathLst>
            </a:custGeom>
            <a:solidFill>
              <a:srgbClr val="FFDB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78055C49-A0BC-441D-AF0A-C86CAB316B70}"/>
                </a:ext>
              </a:extLst>
            </p:cNvPr>
            <p:cNvSpPr/>
            <p:nvPr/>
          </p:nvSpPr>
          <p:spPr>
            <a:xfrm>
              <a:off x="5998644" y="4479356"/>
              <a:ext cx="266700" cy="266702"/>
            </a:xfrm>
            <a:custGeom>
              <a:avLst/>
              <a:gdLst>
                <a:gd name="connsiteX0" fmla="*/ 268986 w 266700"/>
                <a:gd name="connsiteY0" fmla="*/ 134493 h 266700"/>
                <a:gd name="connsiteX1" fmla="*/ 134493 w 266700"/>
                <a:gd name="connsiteY1" fmla="*/ 268986 h 266700"/>
                <a:gd name="connsiteX2" fmla="*/ 0 w 266700"/>
                <a:gd name="connsiteY2" fmla="*/ 134493 h 266700"/>
                <a:gd name="connsiteX3" fmla="*/ 134493 w 266700"/>
                <a:gd name="connsiteY3" fmla="*/ 0 h 266700"/>
                <a:gd name="connsiteX4" fmla="*/ 268986 w 266700"/>
                <a:gd name="connsiteY4" fmla="*/ 134493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700" h="266700">
                  <a:moveTo>
                    <a:pt x="268986" y="134493"/>
                  </a:moveTo>
                  <a:cubicBezTo>
                    <a:pt x="268986" y="208771"/>
                    <a:pt x="208772" y="268986"/>
                    <a:pt x="134493" y="268986"/>
                  </a:cubicBezTo>
                  <a:cubicBezTo>
                    <a:pt x="60215" y="268986"/>
                    <a:pt x="0" y="208771"/>
                    <a:pt x="0" y="134493"/>
                  </a:cubicBezTo>
                  <a:cubicBezTo>
                    <a:pt x="0" y="60215"/>
                    <a:pt x="60215" y="0"/>
                    <a:pt x="134493" y="0"/>
                  </a:cubicBezTo>
                  <a:cubicBezTo>
                    <a:pt x="208772" y="0"/>
                    <a:pt x="268986" y="60215"/>
                    <a:pt x="268986" y="134493"/>
                  </a:cubicBezTo>
                  <a:close/>
                </a:path>
              </a:pathLst>
            </a:custGeom>
            <a:solidFill>
              <a:srgbClr val="F9A60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1A3CB4DF-634B-46CD-8845-A0BE0709F8B9}"/>
                </a:ext>
              </a:extLst>
            </p:cNvPr>
            <p:cNvSpPr/>
            <p:nvPr/>
          </p:nvSpPr>
          <p:spPr>
            <a:xfrm>
              <a:off x="3629779" y="5026762"/>
              <a:ext cx="247650" cy="247652"/>
            </a:xfrm>
            <a:custGeom>
              <a:avLst/>
              <a:gdLst>
                <a:gd name="connsiteX0" fmla="*/ 252032 w 247650"/>
                <a:gd name="connsiteY0" fmla="*/ 126016 h 247650"/>
                <a:gd name="connsiteX1" fmla="*/ 126016 w 247650"/>
                <a:gd name="connsiteY1" fmla="*/ 252032 h 247650"/>
                <a:gd name="connsiteX2" fmla="*/ 0 w 247650"/>
                <a:gd name="connsiteY2" fmla="*/ 126016 h 247650"/>
                <a:gd name="connsiteX3" fmla="*/ 126016 w 247650"/>
                <a:gd name="connsiteY3" fmla="*/ 0 h 247650"/>
                <a:gd name="connsiteX4" fmla="*/ 252032 w 247650"/>
                <a:gd name="connsiteY4" fmla="*/ 126016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650" h="247650">
                  <a:moveTo>
                    <a:pt x="252032" y="126016"/>
                  </a:moveTo>
                  <a:cubicBezTo>
                    <a:pt x="252032" y="195548"/>
                    <a:pt x="195644" y="252032"/>
                    <a:pt x="126016" y="252032"/>
                  </a:cubicBezTo>
                  <a:cubicBezTo>
                    <a:pt x="56388" y="252032"/>
                    <a:pt x="0" y="195644"/>
                    <a:pt x="0" y="126016"/>
                  </a:cubicBezTo>
                  <a:cubicBezTo>
                    <a:pt x="0" y="56483"/>
                    <a:pt x="56388" y="0"/>
                    <a:pt x="126016" y="0"/>
                  </a:cubicBezTo>
                  <a:cubicBezTo>
                    <a:pt x="195644" y="0"/>
                    <a:pt x="252032" y="56483"/>
                    <a:pt x="252032" y="126016"/>
                  </a:cubicBezTo>
                  <a:close/>
                </a:path>
              </a:pathLst>
            </a:custGeom>
            <a:solidFill>
              <a:srgbClr val="DBD75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49E5AC11-9872-4197-9C3E-280F0168C023}"/>
                </a:ext>
              </a:extLst>
            </p:cNvPr>
            <p:cNvSpPr/>
            <p:nvPr/>
          </p:nvSpPr>
          <p:spPr>
            <a:xfrm>
              <a:off x="3681595" y="4745392"/>
              <a:ext cx="76200" cy="76201"/>
            </a:xfrm>
            <a:custGeom>
              <a:avLst/>
              <a:gdLst>
                <a:gd name="connsiteX0" fmla="*/ 83820 w 76200"/>
                <a:gd name="connsiteY0" fmla="*/ 41910 h 76200"/>
                <a:gd name="connsiteX1" fmla="*/ 41910 w 76200"/>
                <a:gd name="connsiteY1" fmla="*/ 83820 h 76200"/>
                <a:gd name="connsiteX2" fmla="*/ 0 w 76200"/>
                <a:gd name="connsiteY2" fmla="*/ 41910 h 76200"/>
                <a:gd name="connsiteX3" fmla="*/ 41910 w 76200"/>
                <a:gd name="connsiteY3" fmla="*/ 0 h 76200"/>
                <a:gd name="connsiteX4" fmla="*/ 83820 w 76200"/>
                <a:gd name="connsiteY4" fmla="*/ 4191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83820" y="41910"/>
                  </a:moveTo>
                  <a:cubicBezTo>
                    <a:pt x="83820" y="65056"/>
                    <a:pt x="65056" y="83820"/>
                    <a:pt x="41910" y="83820"/>
                  </a:cubicBezTo>
                  <a:cubicBezTo>
                    <a:pt x="18764" y="83820"/>
                    <a:pt x="0" y="65056"/>
                    <a:pt x="0" y="41910"/>
                  </a:cubicBezTo>
                  <a:cubicBezTo>
                    <a:pt x="0" y="18764"/>
                    <a:pt x="18764" y="0"/>
                    <a:pt x="41910" y="0"/>
                  </a:cubicBezTo>
                  <a:cubicBezTo>
                    <a:pt x="65056" y="0"/>
                    <a:pt x="83820" y="18764"/>
                    <a:pt x="83820" y="41910"/>
                  </a:cubicBezTo>
                  <a:close/>
                </a:path>
              </a:pathLst>
            </a:custGeom>
            <a:solidFill>
              <a:srgbClr val="DBD75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BAFB34B6-958A-49F5-A469-49E1D9CD78A4}"/>
                </a:ext>
              </a:extLst>
            </p:cNvPr>
            <p:cNvSpPr/>
            <p:nvPr/>
          </p:nvSpPr>
          <p:spPr>
            <a:xfrm>
              <a:off x="3522528" y="4876457"/>
              <a:ext cx="123825" cy="123826"/>
            </a:xfrm>
            <a:custGeom>
              <a:avLst/>
              <a:gdLst>
                <a:gd name="connsiteX0" fmla="*/ 131636 w 123825"/>
                <a:gd name="connsiteY0" fmla="*/ 65818 h 123825"/>
                <a:gd name="connsiteX1" fmla="*/ 65818 w 123825"/>
                <a:gd name="connsiteY1" fmla="*/ 131636 h 123825"/>
                <a:gd name="connsiteX2" fmla="*/ 0 w 123825"/>
                <a:gd name="connsiteY2" fmla="*/ 65818 h 123825"/>
                <a:gd name="connsiteX3" fmla="*/ 65818 w 123825"/>
                <a:gd name="connsiteY3" fmla="*/ 0 h 123825"/>
                <a:gd name="connsiteX4" fmla="*/ 131636 w 123825"/>
                <a:gd name="connsiteY4" fmla="*/ 65818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" h="123825">
                  <a:moveTo>
                    <a:pt x="131636" y="65818"/>
                  </a:moveTo>
                  <a:cubicBezTo>
                    <a:pt x="131636" y="102108"/>
                    <a:pt x="102203" y="131636"/>
                    <a:pt x="65818" y="131636"/>
                  </a:cubicBezTo>
                  <a:cubicBezTo>
                    <a:pt x="29528" y="131636"/>
                    <a:pt x="0" y="102203"/>
                    <a:pt x="0" y="65818"/>
                  </a:cubicBezTo>
                  <a:cubicBezTo>
                    <a:pt x="0" y="29528"/>
                    <a:pt x="29432" y="0"/>
                    <a:pt x="65818" y="0"/>
                  </a:cubicBezTo>
                  <a:cubicBezTo>
                    <a:pt x="102203" y="0"/>
                    <a:pt x="131636" y="29432"/>
                    <a:pt x="131636" y="65818"/>
                  </a:cubicBezTo>
                  <a:close/>
                </a:path>
              </a:pathLst>
            </a:custGeom>
            <a:solidFill>
              <a:srgbClr val="DBD75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58887EE7-AA54-4A9A-B55B-E8FE2485B32A}"/>
                </a:ext>
              </a:extLst>
            </p:cNvPr>
            <p:cNvSpPr/>
            <p:nvPr/>
          </p:nvSpPr>
          <p:spPr>
            <a:xfrm>
              <a:off x="6094857" y="5912739"/>
              <a:ext cx="114300" cy="9525"/>
            </a:xfrm>
            <a:custGeom>
              <a:avLst/>
              <a:gdLst>
                <a:gd name="connsiteX0" fmla="*/ 0 w 114300"/>
                <a:gd name="connsiteY0" fmla="*/ 0 h 0"/>
                <a:gd name="connsiteX1" fmla="*/ 114967 w 1143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300">
                  <a:moveTo>
                    <a:pt x="0" y="0"/>
                  </a:moveTo>
                  <a:lnTo>
                    <a:pt x="114967" y="0"/>
                  </a:lnTo>
                </a:path>
              </a:pathLst>
            </a:custGeom>
            <a:ln w="4763" cap="flat">
              <a:solidFill>
                <a:srgbClr val="1C172B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844800" y="2378680"/>
            <a:ext cx="4431183" cy="1075644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853562" y="3739724"/>
            <a:ext cx="4431183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9271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563715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253074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85384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组合 6">
            <a:extLst>
              <a:ext uri="{FF2B5EF4-FFF2-40B4-BE49-F238E27FC236}">
                <a16:creationId xmlns:a16="http://schemas.microsoft.com/office/drawing/2014/main" id="{4E06957F-964A-4062-9514-4BEE307AEFB4}"/>
              </a:ext>
            </a:extLst>
          </p:cNvPr>
          <p:cNvGrpSpPr/>
          <p:nvPr userDrawn="1"/>
        </p:nvGrpSpPr>
        <p:grpSpPr>
          <a:xfrm flipH="1">
            <a:off x="1782750" y="1497026"/>
            <a:ext cx="2344749" cy="5360974"/>
            <a:chOff x="8640751" y="893422"/>
            <a:chExt cx="2608750" cy="5964578"/>
          </a:xfrm>
        </p:grpSpPr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AD6A1E69-6465-4D46-A19C-353F71ACDC96}"/>
                </a:ext>
              </a:extLst>
            </p:cNvPr>
            <p:cNvSpPr/>
            <p:nvPr/>
          </p:nvSpPr>
          <p:spPr>
            <a:xfrm>
              <a:off x="8640751" y="2320202"/>
              <a:ext cx="2050099" cy="4531797"/>
            </a:xfrm>
            <a:custGeom>
              <a:avLst/>
              <a:gdLst>
                <a:gd name="connsiteX0" fmla="*/ 848963 w 1447800"/>
                <a:gd name="connsiteY0" fmla="*/ 63151 h 3200400"/>
                <a:gd name="connsiteX1" fmla="*/ 848963 w 1447800"/>
                <a:gd name="connsiteY1" fmla="*/ 422148 h 3200400"/>
                <a:gd name="connsiteX2" fmla="*/ 334709 w 1447800"/>
                <a:gd name="connsiteY2" fmla="*/ 538544 h 3200400"/>
                <a:gd name="connsiteX3" fmla="*/ 0 w 1447800"/>
                <a:gd name="connsiteY3" fmla="*/ 2537174 h 3200400"/>
                <a:gd name="connsiteX4" fmla="*/ 0 w 1447800"/>
                <a:gd name="connsiteY4" fmla="*/ 3206591 h 3200400"/>
                <a:gd name="connsiteX5" fmla="*/ 1450467 w 1447800"/>
                <a:gd name="connsiteY5" fmla="*/ 3206591 h 3200400"/>
                <a:gd name="connsiteX6" fmla="*/ 1440752 w 1447800"/>
                <a:gd name="connsiteY6" fmla="*/ 495681 h 3200400"/>
                <a:gd name="connsiteX7" fmla="*/ 1038130 w 1447800"/>
                <a:gd name="connsiteY7" fmla="*/ 422053 h 3200400"/>
                <a:gd name="connsiteX8" fmla="*/ 1023557 w 1447800"/>
                <a:gd name="connsiteY8" fmla="*/ 0 h 3200400"/>
                <a:gd name="connsiteX9" fmla="*/ 848963 w 1447800"/>
                <a:gd name="connsiteY9" fmla="*/ 63151 h 320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47800" h="3200400">
                  <a:moveTo>
                    <a:pt x="848963" y="63151"/>
                  </a:moveTo>
                  <a:lnTo>
                    <a:pt x="848963" y="422148"/>
                  </a:lnTo>
                  <a:cubicBezTo>
                    <a:pt x="848963" y="422148"/>
                    <a:pt x="431768" y="427006"/>
                    <a:pt x="334709" y="538544"/>
                  </a:cubicBezTo>
                  <a:cubicBezTo>
                    <a:pt x="237744" y="650177"/>
                    <a:pt x="101918" y="1280827"/>
                    <a:pt x="0" y="2537174"/>
                  </a:cubicBezTo>
                  <a:lnTo>
                    <a:pt x="0" y="3206591"/>
                  </a:lnTo>
                  <a:lnTo>
                    <a:pt x="1450467" y="3206591"/>
                  </a:lnTo>
                  <a:lnTo>
                    <a:pt x="1440752" y="495681"/>
                  </a:lnTo>
                  <a:cubicBezTo>
                    <a:pt x="1440752" y="495681"/>
                    <a:pt x="1416463" y="460819"/>
                    <a:pt x="1038130" y="422053"/>
                  </a:cubicBezTo>
                  <a:lnTo>
                    <a:pt x="1023557" y="0"/>
                  </a:lnTo>
                  <a:lnTo>
                    <a:pt x="848963" y="63151"/>
                  </a:lnTo>
                  <a:close/>
                </a:path>
              </a:pathLst>
            </a:custGeom>
            <a:solidFill>
              <a:srgbClr val="FFA1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3372C6EC-21E0-441B-A8F4-6BA05B819CD4}"/>
                </a:ext>
              </a:extLst>
            </p:cNvPr>
            <p:cNvSpPr/>
            <p:nvPr/>
          </p:nvSpPr>
          <p:spPr>
            <a:xfrm>
              <a:off x="9842891" y="2390740"/>
              <a:ext cx="242775" cy="350675"/>
            </a:xfrm>
            <a:custGeom>
              <a:avLst/>
              <a:gdLst>
                <a:gd name="connsiteX0" fmla="*/ 178975 w 171450"/>
                <a:gd name="connsiteY0" fmla="*/ 127921 h 247650"/>
                <a:gd name="connsiteX1" fmla="*/ 174593 w 171450"/>
                <a:gd name="connsiteY1" fmla="*/ 0 h 247650"/>
                <a:gd name="connsiteX2" fmla="*/ 0 w 171450"/>
                <a:gd name="connsiteY2" fmla="*/ 63056 h 247650"/>
                <a:gd name="connsiteX3" fmla="*/ 0 w 171450"/>
                <a:gd name="connsiteY3" fmla="*/ 252698 h 247650"/>
                <a:gd name="connsiteX4" fmla="*/ 178975 w 171450"/>
                <a:gd name="connsiteY4" fmla="*/ 127921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47650">
                  <a:moveTo>
                    <a:pt x="178975" y="127921"/>
                  </a:moveTo>
                  <a:lnTo>
                    <a:pt x="174593" y="0"/>
                  </a:lnTo>
                  <a:lnTo>
                    <a:pt x="0" y="63056"/>
                  </a:lnTo>
                  <a:lnTo>
                    <a:pt x="0" y="252698"/>
                  </a:lnTo>
                  <a:cubicBezTo>
                    <a:pt x="72771" y="235172"/>
                    <a:pt x="134207" y="188214"/>
                    <a:pt x="178975" y="127921"/>
                  </a:cubicBezTo>
                  <a:close/>
                </a:path>
              </a:pathLst>
            </a:custGeom>
            <a:solidFill>
              <a:srgbClr val="F28B8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CBBE7E6C-19F8-4204-8132-B06C68790AB3}"/>
                </a:ext>
              </a:extLst>
            </p:cNvPr>
            <p:cNvSpPr/>
            <p:nvPr/>
          </p:nvSpPr>
          <p:spPr>
            <a:xfrm>
              <a:off x="8705491" y="2754094"/>
              <a:ext cx="1982661" cy="2454723"/>
            </a:xfrm>
            <a:custGeom>
              <a:avLst/>
              <a:gdLst>
                <a:gd name="connsiteX0" fmla="*/ 1395032 w 1400175"/>
                <a:gd name="connsiteY0" fmla="*/ 189357 h 1733550"/>
                <a:gd name="connsiteX1" fmla="*/ 992410 w 1400175"/>
                <a:gd name="connsiteY1" fmla="*/ 115729 h 1733550"/>
                <a:gd name="connsiteX2" fmla="*/ 988409 w 1400175"/>
                <a:gd name="connsiteY2" fmla="*/ 0 h 1733550"/>
                <a:gd name="connsiteX3" fmla="*/ 898017 w 1400175"/>
                <a:gd name="connsiteY3" fmla="*/ 96107 h 1733550"/>
                <a:gd name="connsiteX4" fmla="*/ 803243 w 1400175"/>
                <a:gd name="connsiteY4" fmla="*/ 0 h 1733550"/>
                <a:gd name="connsiteX5" fmla="*/ 803243 w 1400175"/>
                <a:gd name="connsiteY5" fmla="*/ 115729 h 1733550"/>
                <a:gd name="connsiteX6" fmla="*/ 288989 w 1400175"/>
                <a:gd name="connsiteY6" fmla="*/ 232124 h 1733550"/>
                <a:gd name="connsiteX7" fmla="*/ 0 w 1400175"/>
                <a:gd name="connsiteY7" fmla="*/ 1728216 h 1733550"/>
                <a:gd name="connsiteX8" fmla="*/ 1400556 w 1400175"/>
                <a:gd name="connsiteY8" fmla="*/ 1737360 h 1733550"/>
                <a:gd name="connsiteX9" fmla="*/ 1395032 w 1400175"/>
                <a:gd name="connsiteY9" fmla="*/ 189357 h 1733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00175" h="1733550">
                  <a:moveTo>
                    <a:pt x="1395032" y="189357"/>
                  </a:moveTo>
                  <a:cubicBezTo>
                    <a:pt x="1395032" y="189357"/>
                    <a:pt x="1370743" y="154495"/>
                    <a:pt x="992410" y="115729"/>
                  </a:cubicBezTo>
                  <a:lnTo>
                    <a:pt x="988409" y="0"/>
                  </a:lnTo>
                  <a:cubicBezTo>
                    <a:pt x="941737" y="15526"/>
                    <a:pt x="903732" y="44482"/>
                    <a:pt x="898017" y="96107"/>
                  </a:cubicBezTo>
                  <a:cubicBezTo>
                    <a:pt x="881348" y="54388"/>
                    <a:pt x="844106" y="667"/>
                    <a:pt x="803243" y="0"/>
                  </a:cubicBezTo>
                  <a:lnTo>
                    <a:pt x="803243" y="115729"/>
                  </a:lnTo>
                  <a:cubicBezTo>
                    <a:pt x="803243" y="115729"/>
                    <a:pt x="386048" y="120586"/>
                    <a:pt x="288989" y="232124"/>
                  </a:cubicBezTo>
                  <a:cubicBezTo>
                    <a:pt x="205931" y="327755"/>
                    <a:pt x="94298" y="804101"/>
                    <a:pt x="0" y="1728216"/>
                  </a:cubicBezTo>
                  <a:cubicBezTo>
                    <a:pt x="466058" y="1721549"/>
                    <a:pt x="933641" y="1738312"/>
                    <a:pt x="1400556" y="1737360"/>
                  </a:cubicBezTo>
                  <a:lnTo>
                    <a:pt x="1395032" y="189357"/>
                  </a:lnTo>
                  <a:close/>
                </a:path>
              </a:pathLst>
            </a:custGeom>
            <a:solidFill>
              <a:srgbClr val="0062C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F429B54D-39B9-427E-91DA-4915F76A90E1}"/>
                </a:ext>
              </a:extLst>
            </p:cNvPr>
            <p:cNvSpPr/>
            <p:nvPr/>
          </p:nvSpPr>
          <p:spPr>
            <a:xfrm>
              <a:off x="9980463" y="2914460"/>
              <a:ext cx="13487" cy="2279386"/>
            </a:xfrm>
            <a:custGeom>
              <a:avLst/>
              <a:gdLst>
                <a:gd name="connsiteX0" fmla="*/ 0 w 0"/>
                <a:gd name="connsiteY0" fmla="*/ 0 h 1609725"/>
                <a:gd name="connsiteX1" fmla="*/ 0 w 0"/>
                <a:gd name="connsiteY1" fmla="*/ 1615535 h 160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609725">
                  <a:moveTo>
                    <a:pt x="0" y="0"/>
                  </a:moveTo>
                  <a:lnTo>
                    <a:pt x="0" y="1615535"/>
                  </a:lnTo>
                </a:path>
              </a:pathLst>
            </a:custGeom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5BF38803-9A60-4C5A-8866-26268BC6D733}"/>
                </a:ext>
              </a:extLst>
            </p:cNvPr>
            <p:cNvSpPr/>
            <p:nvPr/>
          </p:nvSpPr>
          <p:spPr>
            <a:xfrm>
              <a:off x="8640751" y="5199039"/>
              <a:ext cx="2050099" cy="1658961"/>
            </a:xfrm>
            <a:custGeom>
              <a:avLst/>
              <a:gdLst>
                <a:gd name="connsiteX0" fmla="*/ 45720 w 1447800"/>
                <a:gd name="connsiteY0" fmla="*/ 1572 h 1171575"/>
                <a:gd name="connsiteX1" fmla="*/ 0 w 1447800"/>
                <a:gd name="connsiteY1" fmla="*/ 504111 h 1171575"/>
                <a:gd name="connsiteX2" fmla="*/ 0 w 1447800"/>
                <a:gd name="connsiteY2" fmla="*/ 1173528 h 1171575"/>
                <a:gd name="connsiteX3" fmla="*/ 1450467 w 1447800"/>
                <a:gd name="connsiteY3" fmla="*/ 1173528 h 1171575"/>
                <a:gd name="connsiteX4" fmla="*/ 1446276 w 1447800"/>
                <a:gd name="connsiteY4" fmla="*/ 10715 h 1171575"/>
                <a:gd name="connsiteX5" fmla="*/ 45720 w 1447800"/>
                <a:gd name="connsiteY5" fmla="*/ 1572 h 1171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47800" h="1171575">
                  <a:moveTo>
                    <a:pt x="45720" y="1572"/>
                  </a:moveTo>
                  <a:cubicBezTo>
                    <a:pt x="29909" y="156448"/>
                    <a:pt x="14573" y="323802"/>
                    <a:pt x="0" y="504111"/>
                  </a:cubicBezTo>
                  <a:lnTo>
                    <a:pt x="0" y="1173528"/>
                  </a:lnTo>
                  <a:lnTo>
                    <a:pt x="1450467" y="1173528"/>
                  </a:lnTo>
                  <a:lnTo>
                    <a:pt x="1446276" y="10715"/>
                  </a:lnTo>
                  <a:cubicBezTo>
                    <a:pt x="979361" y="11668"/>
                    <a:pt x="511778" y="-5096"/>
                    <a:pt x="45720" y="1572"/>
                  </a:cubicBezTo>
                  <a:close/>
                </a:path>
              </a:pathLst>
            </a:custGeom>
            <a:solidFill>
              <a:srgbClr val="FBC7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B3B302A5-9DB4-4B75-B17C-B264F4A04CE4}"/>
                </a:ext>
              </a:extLst>
            </p:cNvPr>
            <p:cNvSpPr/>
            <p:nvPr/>
          </p:nvSpPr>
          <p:spPr>
            <a:xfrm>
              <a:off x="8640751" y="2917023"/>
              <a:ext cx="1200387" cy="3938348"/>
            </a:xfrm>
            <a:custGeom>
              <a:avLst/>
              <a:gdLst>
                <a:gd name="connsiteX0" fmla="*/ 334709 w 847725"/>
                <a:gd name="connsiteY0" fmla="*/ 117062 h 2781300"/>
                <a:gd name="connsiteX1" fmla="*/ 0 w 847725"/>
                <a:gd name="connsiteY1" fmla="*/ 2115693 h 2781300"/>
                <a:gd name="connsiteX2" fmla="*/ 0 w 847725"/>
                <a:gd name="connsiteY2" fmla="*/ 2785110 h 2781300"/>
                <a:gd name="connsiteX3" fmla="*/ 586264 w 847725"/>
                <a:gd name="connsiteY3" fmla="*/ 2785110 h 2781300"/>
                <a:gd name="connsiteX4" fmla="*/ 844106 w 847725"/>
                <a:gd name="connsiteY4" fmla="*/ 2527268 h 2781300"/>
                <a:gd name="connsiteX5" fmla="*/ 848297 w 847725"/>
                <a:gd name="connsiteY5" fmla="*/ 0 h 2781300"/>
                <a:gd name="connsiteX6" fmla="*/ 334709 w 847725"/>
                <a:gd name="connsiteY6" fmla="*/ 117062 h 2781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7725" h="2781300">
                  <a:moveTo>
                    <a:pt x="334709" y="117062"/>
                  </a:moveTo>
                  <a:cubicBezTo>
                    <a:pt x="237744" y="228695"/>
                    <a:pt x="101918" y="859346"/>
                    <a:pt x="0" y="2115693"/>
                  </a:cubicBezTo>
                  <a:lnTo>
                    <a:pt x="0" y="2785110"/>
                  </a:lnTo>
                  <a:lnTo>
                    <a:pt x="586264" y="2785110"/>
                  </a:lnTo>
                  <a:cubicBezTo>
                    <a:pt x="728663" y="2785110"/>
                    <a:pt x="844106" y="2669667"/>
                    <a:pt x="844106" y="2527268"/>
                  </a:cubicBezTo>
                  <a:lnTo>
                    <a:pt x="848297" y="0"/>
                  </a:lnTo>
                  <a:cubicBezTo>
                    <a:pt x="802005" y="953"/>
                    <a:pt x="425672" y="12573"/>
                    <a:pt x="334709" y="117062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450C2C44-AB10-4E67-A8C5-11A08BAB4A5A}"/>
                </a:ext>
              </a:extLst>
            </p:cNvPr>
            <p:cNvSpPr/>
            <p:nvPr/>
          </p:nvSpPr>
          <p:spPr>
            <a:xfrm>
              <a:off x="10105763" y="2917967"/>
              <a:ext cx="579962" cy="3938348"/>
            </a:xfrm>
            <a:custGeom>
              <a:avLst/>
              <a:gdLst>
                <a:gd name="connsiteX0" fmla="*/ 415861 w 409575"/>
                <a:gd name="connsiteY0" fmla="*/ 2784539 h 2781300"/>
                <a:gd name="connsiteX1" fmla="*/ 406146 w 409575"/>
                <a:gd name="connsiteY1" fmla="*/ 73628 h 2781300"/>
                <a:gd name="connsiteX2" fmla="*/ 3524 w 409575"/>
                <a:gd name="connsiteY2" fmla="*/ 0 h 2781300"/>
                <a:gd name="connsiteX3" fmla="*/ 0 w 409575"/>
                <a:gd name="connsiteY3" fmla="*/ 2469928 h 2781300"/>
                <a:gd name="connsiteX4" fmla="*/ 314611 w 409575"/>
                <a:gd name="connsiteY4" fmla="*/ 2784539 h 2781300"/>
                <a:gd name="connsiteX5" fmla="*/ 415861 w 409575"/>
                <a:gd name="connsiteY5" fmla="*/ 2784539 h 2781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9575" h="2781300">
                  <a:moveTo>
                    <a:pt x="415861" y="2784539"/>
                  </a:moveTo>
                  <a:lnTo>
                    <a:pt x="406146" y="73628"/>
                  </a:lnTo>
                  <a:cubicBezTo>
                    <a:pt x="406146" y="73628"/>
                    <a:pt x="381857" y="38767"/>
                    <a:pt x="3524" y="0"/>
                  </a:cubicBezTo>
                  <a:lnTo>
                    <a:pt x="0" y="2469928"/>
                  </a:lnTo>
                  <a:cubicBezTo>
                    <a:pt x="0" y="2643664"/>
                    <a:pt x="140875" y="2784539"/>
                    <a:pt x="314611" y="2784539"/>
                  </a:cubicBezTo>
                  <a:lnTo>
                    <a:pt x="415861" y="278453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5CC79DF9-CE2D-4A26-8C40-D17D20301E1F}"/>
                </a:ext>
              </a:extLst>
            </p:cNvPr>
            <p:cNvSpPr/>
            <p:nvPr/>
          </p:nvSpPr>
          <p:spPr>
            <a:xfrm>
              <a:off x="9262389" y="4263209"/>
              <a:ext cx="13487" cy="2589598"/>
            </a:xfrm>
            <a:custGeom>
              <a:avLst/>
              <a:gdLst>
                <a:gd name="connsiteX0" fmla="*/ 0 w 0"/>
                <a:gd name="connsiteY0" fmla="*/ 0 h 1828800"/>
                <a:gd name="connsiteX1" fmla="*/ 0 w 0"/>
                <a:gd name="connsiteY1" fmla="*/ 1837658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828800">
                  <a:moveTo>
                    <a:pt x="0" y="0"/>
                  </a:moveTo>
                  <a:lnTo>
                    <a:pt x="0" y="1837658"/>
                  </a:lnTo>
                </a:path>
              </a:pathLst>
            </a:custGeom>
            <a:ln w="12700" cap="flat">
              <a:solidFill>
                <a:srgbClr val="0052AC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48D27E41-2138-4829-BF40-CEAA50B8E9C0}"/>
                </a:ext>
              </a:extLst>
            </p:cNvPr>
            <p:cNvSpPr/>
            <p:nvPr/>
          </p:nvSpPr>
          <p:spPr>
            <a:xfrm>
              <a:off x="9406638" y="2856733"/>
              <a:ext cx="431600" cy="1658961"/>
            </a:xfrm>
            <a:custGeom>
              <a:avLst/>
              <a:gdLst>
                <a:gd name="connsiteX0" fmla="*/ 306658 w 304800"/>
                <a:gd name="connsiteY0" fmla="*/ 0 h 1171575"/>
                <a:gd name="connsiteX1" fmla="*/ 48435 w 304800"/>
                <a:gd name="connsiteY1" fmla="*/ 148590 h 1171575"/>
                <a:gd name="connsiteX2" fmla="*/ 7191 w 304800"/>
                <a:gd name="connsiteY2" fmla="*/ 295370 h 1171575"/>
                <a:gd name="connsiteX3" fmla="*/ 306658 w 304800"/>
                <a:gd name="connsiteY3" fmla="*/ 1175575 h 1171575"/>
                <a:gd name="connsiteX4" fmla="*/ 306658 w 304800"/>
                <a:gd name="connsiteY4" fmla="*/ 0 h 1171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800" h="1171575">
                  <a:moveTo>
                    <a:pt x="306658" y="0"/>
                  </a:moveTo>
                  <a:cubicBezTo>
                    <a:pt x="306658" y="0"/>
                    <a:pt x="194739" y="28003"/>
                    <a:pt x="48435" y="148590"/>
                  </a:cubicBezTo>
                  <a:cubicBezTo>
                    <a:pt x="5477" y="184023"/>
                    <a:pt x="-10716" y="242602"/>
                    <a:pt x="7191" y="295370"/>
                  </a:cubicBezTo>
                  <a:lnTo>
                    <a:pt x="306658" y="1175575"/>
                  </a:lnTo>
                  <a:lnTo>
                    <a:pt x="306658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2D93229F-2193-4E4A-832D-4766A992AE43}"/>
                </a:ext>
              </a:extLst>
            </p:cNvPr>
            <p:cNvSpPr/>
            <p:nvPr/>
          </p:nvSpPr>
          <p:spPr>
            <a:xfrm>
              <a:off x="10110483" y="2856733"/>
              <a:ext cx="431600" cy="1658961"/>
            </a:xfrm>
            <a:custGeom>
              <a:avLst/>
              <a:gdLst>
                <a:gd name="connsiteX0" fmla="*/ 0 w 304800"/>
                <a:gd name="connsiteY0" fmla="*/ 0 h 1171575"/>
                <a:gd name="connsiteX1" fmla="*/ 258223 w 304800"/>
                <a:gd name="connsiteY1" fmla="*/ 148590 h 1171575"/>
                <a:gd name="connsiteX2" fmla="*/ 299466 w 304800"/>
                <a:gd name="connsiteY2" fmla="*/ 295370 h 1171575"/>
                <a:gd name="connsiteX3" fmla="*/ 0 w 304800"/>
                <a:gd name="connsiteY3" fmla="*/ 1175575 h 1171575"/>
                <a:gd name="connsiteX4" fmla="*/ 0 w 304800"/>
                <a:gd name="connsiteY4" fmla="*/ 0 h 1171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800" h="1171575">
                  <a:moveTo>
                    <a:pt x="0" y="0"/>
                  </a:moveTo>
                  <a:cubicBezTo>
                    <a:pt x="0" y="0"/>
                    <a:pt x="111919" y="28003"/>
                    <a:pt x="258223" y="148590"/>
                  </a:cubicBezTo>
                  <a:cubicBezTo>
                    <a:pt x="301180" y="184023"/>
                    <a:pt x="317373" y="242602"/>
                    <a:pt x="299466" y="295370"/>
                  </a:cubicBezTo>
                  <a:lnTo>
                    <a:pt x="0" y="11755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C23BB5E3-C55A-40F7-96E1-DC76EE18CBD5}"/>
                </a:ext>
              </a:extLst>
            </p:cNvPr>
            <p:cNvSpPr/>
            <p:nvPr/>
          </p:nvSpPr>
          <p:spPr>
            <a:xfrm>
              <a:off x="9452450" y="4339436"/>
              <a:ext cx="1105974" cy="1497112"/>
            </a:xfrm>
            <a:custGeom>
              <a:avLst/>
              <a:gdLst>
                <a:gd name="connsiteX0" fmla="*/ 721598 w 781050"/>
                <a:gd name="connsiteY0" fmla="*/ 998585 h 1057275"/>
                <a:gd name="connsiteX1" fmla="*/ 177054 w 781050"/>
                <a:gd name="connsiteY1" fmla="*/ 1058402 h 1057275"/>
                <a:gd name="connsiteX2" fmla="*/ 93520 w 781050"/>
                <a:gd name="connsiteY2" fmla="*/ 991441 h 1057275"/>
                <a:gd name="connsiteX3" fmla="*/ 460 w 781050"/>
                <a:gd name="connsiteY3" fmla="*/ 143812 h 1057275"/>
                <a:gd name="connsiteX4" fmla="*/ 67421 w 781050"/>
                <a:gd name="connsiteY4" fmla="*/ 60277 h 1057275"/>
                <a:gd name="connsiteX5" fmla="*/ 611965 w 781050"/>
                <a:gd name="connsiteY5" fmla="*/ 460 h 1057275"/>
                <a:gd name="connsiteX6" fmla="*/ 695500 w 781050"/>
                <a:gd name="connsiteY6" fmla="*/ 67421 h 1057275"/>
                <a:gd name="connsiteX7" fmla="*/ 788559 w 781050"/>
                <a:gd name="connsiteY7" fmla="*/ 915051 h 1057275"/>
                <a:gd name="connsiteX8" fmla="*/ 721598 w 781050"/>
                <a:gd name="connsiteY8" fmla="*/ 998585 h 1057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1050" h="1057275">
                  <a:moveTo>
                    <a:pt x="721598" y="998585"/>
                  </a:moveTo>
                  <a:lnTo>
                    <a:pt x="177054" y="1058402"/>
                  </a:lnTo>
                  <a:cubicBezTo>
                    <a:pt x="135525" y="1062974"/>
                    <a:pt x="98092" y="1032970"/>
                    <a:pt x="93520" y="991441"/>
                  </a:cubicBezTo>
                  <a:lnTo>
                    <a:pt x="460" y="143812"/>
                  </a:lnTo>
                  <a:cubicBezTo>
                    <a:pt x="-4112" y="102282"/>
                    <a:pt x="25892" y="64849"/>
                    <a:pt x="67421" y="60277"/>
                  </a:cubicBezTo>
                  <a:lnTo>
                    <a:pt x="611965" y="460"/>
                  </a:lnTo>
                  <a:cubicBezTo>
                    <a:pt x="653494" y="-4112"/>
                    <a:pt x="690928" y="25892"/>
                    <a:pt x="695500" y="67421"/>
                  </a:cubicBezTo>
                  <a:lnTo>
                    <a:pt x="788559" y="915051"/>
                  </a:lnTo>
                  <a:cubicBezTo>
                    <a:pt x="793131" y="956580"/>
                    <a:pt x="763127" y="994013"/>
                    <a:pt x="721598" y="998585"/>
                  </a:cubicBezTo>
                  <a:close/>
                </a:path>
              </a:pathLst>
            </a:custGeom>
            <a:solidFill>
              <a:srgbClr val="2D406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E2F16B29-E720-460E-B837-386B850CA1C6}"/>
                </a:ext>
              </a:extLst>
            </p:cNvPr>
            <p:cNvSpPr/>
            <p:nvPr/>
          </p:nvSpPr>
          <p:spPr>
            <a:xfrm>
              <a:off x="9660986" y="4275254"/>
              <a:ext cx="539500" cy="161850"/>
            </a:xfrm>
            <a:custGeom>
              <a:avLst/>
              <a:gdLst>
                <a:gd name="connsiteX0" fmla="*/ 387067 w 381000"/>
                <a:gd name="connsiteY0" fmla="*/ 78838 h 114300"/>
                <a:gd name="connsiteX1" fmla="*/ 3210 w 381000"/>
                <a:gd name="connsiteY1" fmla="*/ 120939 h 114300"/>
                <a:gd name="connsiteX2" fmla="*/ 352 w 381000"/>
                <a:gd name="connsiteY2" fmla="*/ 94649 h 114300"/>
                <a:gd name="connsiteX3" fmla="*/ 52549 w 381000"/>
                <a:gd name="connsiteY3" fmla="*/ 29594 h 114300"/>
                <a:gd name="connsiteX4" fmla="*/ 319249 w 381000"/>
                <a:gd name="connsiteY4" fmla="*/ 352 h 114300"/>
                <a:gd name="connsiteX5" fmla="*/ 384305 w 381000"/>
                <a:gd name="connsiteY5" fmla="*/ 52549 h 114300"/>
                <a:gd name="connsiteX6" fmla="*/ 387067 w 381000"/>
                <a:gd name="connsiteY6" fmla="*/ 78838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1000" h="114300">
                  <a:moveTo>
                    <a:pt x="387067" y="78838"/>
                  </a:moveTo>
                  <a:lnTo>
                    <a:pt x="3210" y="120939"/>
                  </a:lnTo>
                  <a:lnTo>
                    <a:pt x="352" y="94649"/>
                  </a:lnTo>
                  <a:cubicBezTo>
                    <a:pt x="-3172" y="62264"/>
                    <a:pt x="20164" y="33213"/>
                    <a:pt x="52549" y="29594"/>
                  </a:cubicBezTo>
                  <a:lnTo>
                    <a:pt x="319249" y="352"/>
                  </a:lnTo>
                  <a:cubicBezTo>
                    <a:pt x="351634" y="-3172"/>
                    <a:pt x="380685" y="20164"/>
                    <a:pt x="384305" y="52549"/>
                  </a:cubicBezTo>
                  <a:lnTo>
                    <a:pt x="387067" y="78838"/>
                  </a:lnTo>
                  <a:close/>
                </a:path>
              </a:pathLst>
            </a:custGeom>
            <a:solidFill>
              <a:srgbClr val="08B68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14F3FFE2-19B7-4F67-AFA4-4B4DFC18DBC6}"/>
                </a:ext>
              </a:extLst>
            </p:cNvPr>
            <p:cNvSpPr/>
            <p:nvPr/>
          </p:nvSpPr>
          <p:spPr>
            <a:xfrm>
              <a:off x="9374370" y="5122767"/>
              <a:ext cx="269750" cy="526012"/>
            </a:xfrm>
            <a:custGeom>
              <a:avLst/>
              <a:gdLst>
                <a:gd name="connsiteX0" fmla="*/ 175236 w 190500"/>
                <a:gd name="connsiteY0" fmla="*/ 375190 h 371475"/>
                <a:gd name="connsiteX1" fmla="*/ 29027 w 190500"/>
                <a:gd name="connsiteY1" fmla="*/ 288512 h 371475"/>
                <a:gd name="connsiteX2" fmla="*/ 18264 w 190500"/>
                <a:gd name="connsiteY2" fmla="*/ 259652 h 371475"/>
                <a:gd name="connsiteX3" fmla="*/ 9024 w 190500"/>
                <a:gd name="connsiteY3" fmla="*/ 48959 h 371475"/>
                <a:gd name="connsiteX4" fmla="*/ 61507 w 190500"/>
                <a:gd name="connsiteY4" fmla="*/ 0 h 371475"/>
                <a:gd name="connsiteX5" fmla="*/ 104560 w 190500"/>
                <a:gd name="connsiteY5" fmla="*/ 39529 h 371475"/>
                <a:gd name="connsiteX6" fmla="*/ 182094 w 190500"/>
                <a:gd name="connsiteY6" fmla="*/ 89821 h 371475"/>
                <a:gd name="connsiteX7" fmla="*/ 191714 w 190500"/>
                <a:gd name="connsiteY7" fmla="*/ 371666 h 371475"/>
                <a:gd name="connsiteX8" fmla="*/ 175236 w 190500"/>
                <a:gd name="connsiteY8" fmla="*/ 37519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0500" h="371475">
                  <a:moveTo>
                    <a:pt x="175236" y="375190"/>
                  </a:moveTo>
                  <a:cubicBezTo>
                    <a:pt x="119038" y="340805"/>
                    <a:pt x="72270" y="338233"/>
                    <a:pt x="29027" y="288512"/>
                  </a:cubicBezTo>
                  <a:cubicBezTo>
                    <a:pt x="22264" y="280702"/>
                    <a:pt x="20264" y="269748"/>
                    <a:pt x="18264" y="259652"/>
                  </a:cubicBezTo>
                  <a:cubicBezTo>
                    <a:pt x="4262" y="190119"/>
                    <a:pt x="-9645" y="117443"/>
                    <a:pt x="9024" y="48959"/>
                  </a:cubicBezTo>
                  <a:cubicBezTo>
                    <a:pt x="15216" y="26289"/>
                    <a:pt x="38266" y="3905"/>
                    <a:pt x="61507" y="0"/>
                  </a:cubicBezTo>
                  <a:cubicBezTo>
                    <a:pt x="75890" y="12192"/>
                    <a:pt x="94368" y="23717"/>
                    <a:pt x="104560" y="39529"/>
                  </a:cubicBezTo>
                  <a:cubicBezTo>
                    <a:pt x="104941" y="44101"/>
                    <a:pt x="184761" y="95250"/>
                    <a:pt x="182094" y="89821"/>
                  </a:cubicBezTo>
                  <a:cubicBezTo>
                    <a:pt x="176188" y="78200"/>
                    <a:pt x="190761" y="263462"/>
                    <a:pt x="191714" y="371666"/>
                  </a:cubicBezTo>
                  <a:cubicBezTo>
                    <a:pt x="185523" y="372428"/>
                    <a:pt x="181427" y="374333"/>
                    <a:pt x="175236" y="375190"/>
                  </a:cubicBezTo>
                  <a:close/>
                </a:path>
              </a:pathLst>
            </a:custGeom>
            <a:solidFill>
              <a:srgbClr val="FFA1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B4F9B6A7-CE62-490C-B9B6-EBCB42AC47AD}"/>
                </a:ext>
              </a:extLst>
            </p:cNvPr>
            <p:cNvSpPr/>
            <p:nvPr/>
          </p:nvSpPr>
          <p:spPr>
            <a:xfrm>
              <a:off x="9469152" y="2984055"/>
              <a:ext cx="1780349" cy="2832373"/>
            </a:xfrm>
            <a:custGeom>
              <a:avLst/>
              <a:gdLst>
                <a:gd name="connsiteX0" fmla="*/ 54578 w 1257300"/>
                <a:gd name="connsiteY0" fmla="*/ 1544955 h 2000250"/>
                <a:gd name="connsiteX1" fmla="*/ 0 w 1257300"/>
                <a:gd name="connsiteY1" fmla="*/ 1898237 h 2000250"/>
                <a:gd name="connsiteX2" fmla="*/ 1243013 w 1257300"/>
                <a:gd name="connsiteY2" fmla="*/ 1747266 h 2000250"/>
                <a:gd name="connsiteX3" fmla="*/ 989267 w 1257300"/>
                <a:gd name="connsiteY3" fmla="*/ 138113 h 2000250"/>
                <a:gd name="connsiteX4" fmla="*/ 754761 w 1257300"/>
                <a:gd name="connsiteY4" fmla="*/ 0 h 2000250"/>
                <a:gd name="connsiteX5" fmla="*/ 860774 w 1257300"/>
                <a:gd name="connsiteY5" fmla="*/ 819055 h 2000250"/>
                <a:gd name="connsiteX6" fmla="*/ 844677 w 1257300"/>
                <a:gd name="connsiteY6" fmla="*/ 1403604 h 2000250"/>
                <a:gd name="connsiteX7" fmla="*/ 54578 w 1257300"/>
                <a:gd name="connsiteY7" fmla="*/ 1544955 h 2000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7300" h="2000250">
                  <a:moveTo>
                    <a:pt x="54578" y="1544955"/>
                  </a:moveTo>
                  <a:lnTo>
                    <a:pt x="0" y="1898237"/>
                  </a:lnTo>
                  <a:cubicBezTo>
                    <a:pt x="0" y="1898237"/>
                    <a:pt x="635984" y="2213039"/>
                    <a:pt x="1243013" y="1747266"/>
                  </a:cubicBezTo>
                  <a:cubicBezTo>
                    <a:pt x="1349502" y="1665637"/>
                    <a:pt x="1025271" y="210026"/>
                    <a:pt x="989267" y="138113"/>
                  </a:cubicBezTo>
                  <a:cubicBezTo>
                    <a:pt x="944309" y="48197"/>
                    <a:pt x="828675" y="3239"/>
                    <a:pt x="754761" y="0"/>
                  </a:cubicBezTo>
                  <a:lnTo>
                    <a:pt x="860774" y="819055"/>
                  </a:lnTo>
                  <a:cubicBezTo>
                    <a:pt x="860774" y="819055"/>
                    <a:pt x="854107" y="1396937"/>
                    <a:pt x="844677" y="1403604"/>
                  </a:cubicBezTo>
                  <a:cubicBezTo>
                    <a:pt x="777240" y="1451801"/>
                    <a:pt x="594170" y="1573816"/>
                    <a:pt x="54578" y="1544955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02B76BB0-96A5-4926-BF01-562EFF10E562}"/>
                </a:ext>
              </a:extLst>
            </p:cNvPr>
            <p:cNvSpPr/>
            <p:nvPr/>
          </p:nvSpPr>
          <p:spPr>
            <a:xfrm>
              <a:off x="9282866" y="893422"/>
              <a:ext cx="1402699" cy="1766861"/>
            </a:xfrm>
            <a:custGeom>
              <a:avLst/>
              <a:gdLst>
                <a:gd name="connsiteX0" fmla="*/ 940992 w 990600"/>
                <a:gd name="connsiteY0" fmla="*/ 917118 h 1247775"/>
                <a:gd name="connsiteX1" fmla="*/ 816024 w 990600"/>
                <a:gd name="connsiteY1" fmla="*/ 851491 h 1247775"/>
                <a:gd name="connsiteX2" fmla="*/ 854981 w 990600"/>
                <a:gd name="connsiteY2" fmla="*/ 275990 h 1247775"/>
                <a:gd name="connsiteX3" fmla="*/ 804308 w 990600"/>
                <a:gd name="connsiteY3" fmla="*/ 207315 h 1247775"/>
                <a:gd name="connsiteX4" fmla="*/ 730966 w 990600"/>
                <a:gd name="connsiteY4" fmla="*/ 166358 h 1247775"/>
                <a:gd name="connsiteX5" fmla="*/ 481316 w 990600"/>
                <a:gd name="connsiteY5" fmla="*/ 10814 h 1247775"/>
                <a:gd name="connsiteX6" fmla="*/ 420070 w 990600"/>
                <a:gd name="connsiteY6" fmla="*/ 337 h 1247775"/>
                <a:gd name="connsiteX7" fmla="*/ 246620 w 990600"/>
                <a:gd name="connsiteY7" fmla="*/ 23387 h 1247775"/>
                <a:gd name="connsiteX8" fmla="*/ 120604 w 990600"/>
                <a:gd name="connsiteY8" fmla="*/ 83966 h 1247775"/>
                <a:gd name="connsiteX9" fmla="*/ 54881 w 990600"/>
                <a:gd name="connsiteY9" fmla="*/ 192456 h 1247775"/>
                <a:gd name="connsiteX10" fmla="*/ 17 w 990600"/>
                <a:gd name="connsiteY10" fmla="*/ 477349 h 1247775"/>
                <a:gd name="connsiteX11" fmla="*/ 74693 w 990600"/>
                <a:gd name="connsiteY11" fmla="*/ 883685 h 1247775"/>
                <a:gd name="connsiteX12" fmla="*/ 205281 w 990600"/>
                <a:gd name="connsiteY12" fmla="*/ 1096950 h 1247775"/>
                <a:gd name="connsiteX13" fmla="*/ 601807 w 990600"/>
                <a:gd name="connsiteY13" fmla="*/ 1110761 h 1247775"/>
                <a:gd name="connsiteX14" fmla="*/ 678864 w 990600"/>
                <a:gd name="connsiteY14" fmla="*/ 1220394 h 1247775"/>
                <a:gd name="connsiteX15" fmla="*/ 837455 w 990600"/>
                <a:gd name="connsiteY15" fmla="*/ 1244302 h 1247775"/>
                <a:gd name="connsiteX16" fmla="*/ 940992 w 990600"/>
                <a:gd name="connsiteY16" fmla="*/ 917118 h 124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90600" h="1247775">
                  <a:moveTo>
                    <a:pt x="940992" y="917118"/>
                  </a:moveTo>
                  <a:cubicBezTo>
                    <a:pt x="909560" y="879875"/>
                    <a:pt x="863078" y="848443"/>
                    <a:pt x="816024" y="851491"/>
                  </a:cubicBezTo>
                  <a:cubicBezTo>
                    <a:pt x="919466" y="667277"/>
                    <a:pt x="962900" y="446297"/>
                    <a:pt x="854981" y="275990"/>
                  </a:cubicBezTo>
                  <a:cubicBezTo>
                    <a:pt x="839741" y="251892"/>
                    <a:pt x="824311" y="227603"/>
                    <a:pt x="804308" y="207315"/>
                  </a:cubicBezTo>
                  <a:cubicBezTo>
                    <a:pt x="784306" y="187027"/>
                    <a:pt x="759065" y="170739"/>
                    <a:pt x="730966" y="166358"/>
                  </a:cubicBezTo>
                  <a:cubicBezTo>
                    <a:pt x="656957" y="105302"/>
                    <a:pt x="569041" y="49772"/>
                    <a:pt x="481316" y="10814"/>
                  </a:cubicBezTo>
                  <a:cubicBezTo>
                    <a:pt x="461313" y="1956"/>
                    <a:pt x="441977" y="-1092"/>
                    <a:pt x="420070" y="337"/>
                  </a:cubicBezTo>
                  <a:cubicBezTo>
                    <a:pt x="361872" y="4242"/>
                    <a:pt x="303103" y="8338"/>
                    <a:pt x="246620" y="23387"/>
                  </a:cubicBezTo>
                  <a:cubicBezTo>
                    <a:pt x="202328" y="35198"/>
                    <a:pt x="156418" y="54725"/>
                    <a:pt x="120604" y="83966"/>
                  </a:cubicBezTo>
                  <a:cubicBezTo>
                    <a:pt x="88505" y="110160"/>
                    <a:pt x="70693" y="154166"/>
                    <a:pt x="54881" y="192456"/>
                  </a:cubicBezTo>
                  <a:cubicBezTo>
                    <a:pt x="17543" y="282372"/>
                    <a:pt x="684" y="380194"/>
                    <a:pt x="17" y="477349"/>
                  </a:cubicBezTo>
                  <a:cubicBezTo>
                    <a:pt x="-840" y="615652"/>
                    <a:pt x="30307" y="752621"/>
                    <a:pt x="74693" y="883685"/>
                  </a:cubicBezTo>
                  <a:cubicBezTo>
                    <a:pt x="101935" y="963886"/>
                    <a:pt x="137177" y="1046468"/>
                    <a:pt x="205281" y="1096950"/>
                  </a:cubicBezTo>
                  <a:cubicBezTo>
                    <a:pt x="303674" y="1169816"/>
                    <a:pt x="506747" y="1209059"/>
                    <a:pt x="601807" y="1110761"/>
                  </a:cubicBezTo>
                  <a:cubicBezTo>
                    <a:pt x="573613" y="1139908"/>
                    <a:pt x="660100" y="1210583"/>
                    <a:pt x="678864" y="1220394"/>
                  </a:cubicBezTo>
                  <a:cubicBezTo>
                    <a:pt x="727061" y="1245731"/>
                    <a:pt x="783925" y="1254684"/>
                    <a:pt x="837455" y="1244302"/>
                  </a:cubicBezTo>
                  <a:cubicBezTo>
                    <a:pt x="996046" y="1213346"/>
                    <a:pt x="1039481" y="1033704"/>
                    <a:pt x="940992" y="917118"/>
                  </a:cubicBez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A9908DBD-322F-4AC1-9E2B-AECB4EC3FB30}"/>
                </a:ext>
              </a:extLst>
            </p:cNvPr>
            <p:cNvSpPr/>
            <p:nvPr/>
          </p:nvSpPr>
          <p:spPr>
            <a:xfrm>
              <a:off x="10293370" y="1116950"/>
              <a:ext cx="283237" cy="539500"/>
            </a:xfrm>
            <a:custGeom>
              <a:avLst/>
              <a:gdLst>
                <a:gd name="connsiteX0" fmla="*/ 7050 w 200025"/>
                <a:gd name="connsiteY0" fmla="*/ 12119 h 381000"/>
                <a:gd name="connsiteX1" fmla="*/ 169452 w 200025"/>
                <a:gd name="connsiteY1" fmla="*/ 168900 h 381000"/>
                <a:gd name="connsiteX2" fmla="*/ 175738 w 200025"/>
                <a:gd name="connsiteY2" fmla="*/ 381499 h 381000"/>
                <a:gd name="connsiteX3" fmla="*/ 184311 w 200025"/>
                <a:gd name="connsiteY3" fmla="*/ 383880 h 381000"/>
                <a:gd name="connsiteX4" fmla="*/ 164880 w 200025"/>
                <a:gd name="connsiteY4" fmla="*/ 120037 h 381000"/>
                <a:gd name="connsiteX5" fmla="*/ 4002 w 200025"/>
                <a:gd name="connsiteY5" fmla="*/ 1356 h 381000"/>
                <a:gd name="connsiteX6" fmla="*/ 7050 w 200025"/>
                <a:gd name="connsiteY6" fmla="*/ 12119 h 381000"/>
                <a:gd name="connsiteX7" fmla="*/ 7050 w 200025"/>
                <a:gd name="connsiteY7" fmla="*/ 12119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0025" h="381000">
                  <a:moveTo>
                    <a:pt x="7050" y="12119"/>
                  </a:moveTo>
                  <a:cubicBezTo>
                    <a:pt x="95728" y="-168"/>
                    <a:pt x="146973" y="98415"/>
                    <a:pt x="169452" y="168900"/>
                  </a:cubicBezTo>
                  <a:cubicBezTo>
                    <a:pt x="191931" y="239290"/>
                    <a:pt x="190311" y="309966"/>
                    <a:pt x="175738" y="381499"/>
                  </a:cubicBezTo>
                  <a:cubicBezTo>
                    <a:pt x="174595" y="387118"/>
                    <a:pt x="182501" y="389404"/>
                    <a:pt x="184311" y="383880"/>
                  </a:cubicBezTo>
                  <a:cubicBezTo>
                    <a:pt x="212600" y="297679"/>
                    <a:pt x="203551" y="201571"/>
                    <a:pt x="164880" y="120037"/>
                  </a:cubicBezTo>
                  <a:cubicBezTo>
                    <a:pt x="134495" y="55934"/>
                    <a:pt x="82584" y="-10360"/>
                    <a:pt x="4002" y="1356"/>
                  </a:cubicBezTo>
                  <a:cubicBezTo>
                    <a:pt x="-3046" y="2499"/>
                    <a:pt x="2" y="13167"/>
                    <a:pt x="7050" y="12119"/>
                  </a:cubicBezTo>
                  <a:lnTo>
                    <a:pt x="7050" y="12119"/>
                  </a:ln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A4DBE1C1-6688-442F-AD02-5F68DED07C48}"/>
                </a:ext>
              </a:extLst>
            </p:cNvPr>
            <p:cNvSpPr/>
            <p:nvPr/>
          </p:nvSpPr>
          <p:spPr>
            <a:xfrm>
              <a:off x="10102110" y="2412980"/>
              <a:ext cx="350675" cy="215800"/>
            </a:xfrm>
            <a:custGeom>
              <a:avLst/>
              <a:gdLst>
                <a:gd name="connsiteX0" fmla="*/ 22582 w 247650"/>
                <a:gd name="connsiteY0" fmla="*/ 1058 h 152400"/>
                <a:gd name="connsiteX1" fmla="*/ 58777 w 247650"/>
                <a:gd name="connsiteY1" fmla="*/ 146981 h 152400"/>
                <a:gd name="connsiteX2" fmla="*/ 251944 w 247650"/>
                <a:gd name="connsiteY2" fmla="*/ 99642 h 152400"/>
                <a:gd name="connsiteX3" fmla="*/ 248134 w 247650"/>
                <a:gd name="connsiteY3" fmla="*/ 94689 h 152400"/>
                <a:gd name="connsiteX4" fmla="*/ 104497 w 247650"/>
                <a:gd name="connsiteY4" fmla="*/ 145457 h 152400"/>
                <a:gd name="connsiteX5" fmla="*/ 28202 w 247650"/>
                <a:gd name="connsiteY5" fmla="*/ 5344 h 152400"/>
                <a:gd name="connsiteX6" fmla="*/ 22582 w 247650"/>
                <a:gd name="connsiteY6" fmla="*/ 1058 h 152400"/>
                <a:gd name="connsiteX7" fmla="*/ 22582 w 247650"/>
                <a:gd name="connsiteY7" fmla="*/ 1058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7650" h="152400">
                  <a:moveTo>
                    <a:pt x="22582" y="1058"/>
                  </a:moveTo>
                  <a:cubicBezTo>
                    <a:pt x="-22280" y="48112"/>
                    <a:pt x="4866" y="120883"/>
                    <a:pt x="58777" y="146981"/>
                  </a:cubicBezTo>
                  <a:cubicBezTo>
                    <a:pt x="122214" y="177652"/>
                    <a:pt x="207653" y="152125"/>
                    <a:pt x="251944" y="99642"/>
                  </a:cubicBezTo>
                  <a:cubicBezTo>
                    <a:pt x="254230" y="96975"/>
                    <a:pt x="251373" y="93070"/>
                    <a:pt x="248134" y="94689"/>
                  </a:cubicBezTo>
                  <a:cubicBezTo>
                    <a:pt x="201081" y="118978"/>
                    <a:pt x="161266" y="151363"/>
                    <a:pt x="104497" y="145457"/>
                  </a:cubicBezTo>
                  <a:cubicBezTo>
                    <a:pt x="33536" y="138123"/>
                    <a:pt x="-12279" y="69829"/>
                    <a:pt x="28202" y="5344"/>
                  </a:cubicBezTo>
                  <a:cubicBezTo>
                    <a:pt x="30393" y="1915"/>
                    <a:pt x="25440" y="-1895"/>
                    <a:pt x="22582" y="1058"/>
                  </a:cubicBezTo>
                  <a:lnTo>
                    <a:pt x="22582" y="1058"/>
                  </a:ln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E9A683F8-D98F-4AC4-823B-0C48D7CDED47}"/>
                </a:ext>
              </a:extLst>
            </p:cNvPr>
            <p:cNvSpPr/>
            <p:nvPr/>
          </p:nvSpPr>
          <p:spPr>
            <a:xfrm>
              <a:off x="9279138" y="1906942"/>
              <a:ext cx="229287" cy="229287"/>
            </a:xfrm>
            <a:custGeom>
              <a:avLst/>
              <a:gdLst>
                <a:gd name="connsiteX0" fmla="*/ 168861 w 161925"/>
                <a:gd name="connsiteY0" fmla="*/ 155545 h 161925"/>
                <a:gd name="connsiteX1" fmla="*/ 115617 w 161925"/>
                <a:gd name="connsiteY1" fmla="*/ 165356 h 161925"/>
                <a:gd name="connsiteX2" fmla="*/ 32177 w 161925"/>
                <a:gd name="connsiteY2" fmla="*/ 143924 h 161925"/>
                <a:gd name="connsiteX3" fmla="*/ 2841 w 161925"/>
                <a:gd name="connsiteY3" fmla="*/ 90775 h 161925"/>
                <a:gd name="connsiteX4" fmla="*/ 364 w 161925"/>
                <a:gd name="connsiteY4" fmla="*/ 61723 h 161925"/>
                <a:gd name="connsiteX5" fmla="*/ 36940 w 161925"/>
                <a:gd name="connsiteY5" fmla="*/ 9908 h 161925"/>
                <a:gd name="connsiteX6" fmla="*/ 143334 w 161925"/>
                <a:gd name="connsiteY6" fmla="*/ 31053 h 161925"/>
                <a:gd name="connsiteX7" fmla="*/ 168861 w 161925"/>
                <a:gd name="connsiteY7" fmla="*/ 155545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1925" h="161925">
                  <a:moveTo>
                    <a:pt x="168861" y="155545"/>
                  </a:moveTo>
                  <a:cubicBezTo>
                    <a:pt x="153050" y="164784"/>
                    <a:pt x="133904" y="165451"/>
                    <a:pt x="115617" y="165356"/>
                  </a:cubicBezTo>
                  <a:cubicBezTo>
                    <a:pt x="86279" y="165165"/>
                    <a:pt x="54656" y="162784"/>
                    <a:pt x="32177" y="143924"/>
                  </a:cubicBezTo>
                  <a:cubicBezTo>
                    <a:pt x="16461" y="130685"/>
                    <a:pt x="7508" y="110777"/>
                    <a:pt x="2841" y="90775"/>
                  </a:cubicBezTo>
                  <a:cubicBezTo>
                    <a:pt x="650" y="81250"/>
                    <a:pt x="-684" y="71439"/>
                    <a:pt x="364" y="61723"/>
                  </a:cubicBezTo>
                  <a:cubicBezTo>
                    <a:pt x="2841" y="39911"/>
                    <a:pt x="17795" y="20575"/>
                    <a:pt x="36940" y="9908"/>
                  </a:cubicBezTo>
                  <a:cubicBezTo>
                    <a:pt x="71325" y="-9238"/>
                    <a:pt x="118855" y="192"/>
                    <a:pt x="143334" y="31053"/>
                  </a:cubicBezTo>
                  <a:cubicBezTo>
                    <a:pt x="146859" y="74868"/>
                    <a:pt x="157622" y="112968"/>
                    <a:pt x="168861" y="155545"/>
                  </a:cubicBezTo>
                  <a:close/>
                </a:path>
              </a:pathLst>
            </a:custGeom>
            <a:solidFill>
              <a:srgbClr val="F28B8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BFBF3889-460C-4FAD-9BE5-8F3E0500A0D6}"/>
                </a:ext>
              </a:extLst>
            </p:cNvPr>
            <p:cNvSpPr/>
            <p:nvPr/>
          </p:nvSpPr>
          <p:spPr>
            <a:xfrm>
              <a:off x="9277631" y="1960252"/>
              <a:ext cx="202312" cy="80925"/>
            </a:xfrm>
            <a:custGeom>
              <a:avLst/>
              <a:gdLst>
                <a:gd name="connsiteX0" fmla="*/ 0 w 142875"/>
                <a:gd name="connsiteY0" fmla="*/ 15312 h 57150"/>
                <a:gd name="connsiteX1" fmla="*/ 85534 w 142875"/>
                <a:gd name="connsiteY1" fmla="*/ 4930 h 57150"/>
                <a:gd name="connsiteX2" fmla="*/ 148209 w 142875"/>
                <a:gd name="connsiteY2" fmla="*/ 6408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2875" h="57150">
                  <a:moveTo>
                    <a:pt x="0" y="15312"/>
                  </a:moveTo>
                  <a:cubicBezTo>
                    <a:pt x="25146" y="-404"/>
                    <a:pt x="57341" y="-4309"/>
                    <a:pt x="85534" y="4930"/>
                  </a:cubicBezTo>
                  <a:cubicBezTo>
                    <a:pt x="113728" y="14169"/>
                    <a:pt x="137255" y="36458"/>
                    <a:pt x="148209" y="64080"/>
                  </a:cubicBezTo>
                </a:path>
              </a:pathLst>
            </a:custGeom>
            <a:noFill/>
            <a:ln w="9525" cap="flat">
              <a:solidFill>
                <a:srgbClr val="CC606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A85FF6BC-57DC-4A71-867A-7767D925EB6E}"/>
                </a:ext>
              </a:extLst>
            </p:cNvPr>
            <p:cNvSpPr/>
            <p:nvPr/>
          </p:nvSpPr>
          <p:spPr>
            <a:xfrm>
              <a:off x="10343951" y="1906942"/>
              <a:ext cx="229287" cy="229287"/>
            </a:xfrm>
            <a:custGeom>
              <a:avLst/>
              <a:gdLst>
                <a:gd name="connsiteX0" fmla="*/ 0 w 161925"/>
                <a:gd name="connsiteY0" fmla="*/ 155545 h 161925"/>
                <a:gd name="connsiteX1" fmla="*/ 53245 w 161925"/>
                <a:gd name="connsiteY1" fmla="*/ 165356 h 161925"/>
                <a:gd name="connsiteX2" fmla="*/ 136684 w 161925"/>
                <a:gd name="connsiteY2" fmla="*/ 143924 h 161925"/>
                <a:gd name="connsiteX3" fmla="*/ 166021 w 161925"/>
                <a:gd name="connsiteY3" fmla="*/ 90775 h 161925"/>
                <a:gd name="connsiteX4" fmla="*/ 168497 w 161925"/>
                <a:gd name="connsiteY4" fmla="*/ 61723 h 161925"/>
                <a:gd name="connsiteX5" fmla="*/ 131921 w 161925"/>
                <a:gd name="connsiteY5" fmla="*/ 9908 h 161925"/>
                <a:gd name="connsiteX6" fmla="*/ 25527 w 161925"/>
                <a:gd name="connsiteY6" fmla="*/ 31053 h 161925"/>
                <a:gd name="connsiteX7" fmla="*/ 0 w 161925"/>
                <a:gd name="connsiteY7" fmla="*/ 155545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1925" h="161925">
                  <a:moveTo>
                    <a:pt x="0" y="155545"/>
                  </a:moveTo>
                  <a:cubicBezTo>
                    <a:pt x="15812" y="164784"/>
                    <a:pt x="34957" y="165451"/>
                    <a:pt x="53245" y="165356"/>
                  </a:cubicBezTo>
                  <a:cubicBezTo>
                    <a:pt x="82582" y="165165"/>
                    <a:pt x="114205" y="162784"/>
                    <a:pt x="136684" y="143924"/>
                  </a:cubicBezTo>
                  <a:cubicBezTo>
                    <a:pt x="152400" y="130685"/>
                    <a:pt x="161354" y="110777"/>
                    <a:pt x="166021" y="90775"/>
                  </a:cubicBezTo>
                  <a:cubicBezTo>
                    <a:pt x="168212" y="81250"/>
                    <a:pt x="169545" y="71439"/>
                    <a:pt x="168497" y="61723"/>
                  </a:cubicBezTo>
                  <a:cubicBezTo>
                    <a:pt x="166021" y="39911"/>
                    <a:pt x="151067" y="20575"/>
                    <a:pt x="131921" y="9908"/>
                  </a:cubicBezTo>
                  <a:cubicBezTo>
                    <a:pt x="97536" y="-9238"/>
                    <a:pt x="50006" y="192"/>
                    <a:pt x="25527" y="31053"/>
                  </a:cubicBezTo>
                  <a:cubicBezTo>
                    <a:pt x="22003" y="74868"/>
                    <a:pt x="11240" y="112968"/>
                    <a:pt x="0" y="155545"/>
                  </a:cubicBezTo>
                  <a:close/>
                </a:path>
              </a:pathLst>
            </a:custGeom>
            <a:solidFill>
              <a:srgbClr val="F28B8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B769E296-7B3D-4D4B-BDA1-EA2449F5264A}"/>
                </a:ext>
              </a:extLst>
            </p:cNvPr>
            <p:cNvSpPr/>
            <p:nvPr/>
          </p:nvSpPr>
          <p:spPr>
            <a:xfrm>
              <a:off x="10374703" y="1960252"/>
              <a:ext cx="202312" cy="80925"/>
            </a:xfrm>
            <a:custGeom>
              <a:avLst/>
              <a:gdLst>
                <a:gd name="connsiteX0" fmla="*/ 148209 w 142875"/>
                <a:gd name="connsiteY0" fmla="*/ 15312 h 57150"/>
                <a:gd name="connsiteX1" fmla="*/ 62675 w 142875"/>
                <a:gd name="connsiteY1" fmla="*/ 4930 h 57150"/>
                <a:gd name="connsiteX2" fmla="*/ 0 w 142875"/>
                <a:gd name="connsiteY2" fmla="*/ 6408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2875" h="57150">
                  <a:moveTo>
                    <a:pt x="148209" y="15312"/>
                  </a:moveTo>
                  <a:cubicBezTo>
                    <a:pt x="123063" y="-404"/>
                    <a:pt x="90869" y="-4309"/>
                    <a:pt x="62675" y="4930"/>
                  </a:cubicBezTo>
                  <a:cubicBezTo>
                    <a:pt x="34480" y="14169"/>
                    <a:pt x="10954" y="36458"/>
                    <a:pt x="0" y="64080"/>
                  </a:cubicBezTo>
                </a:path>
              </a:pathLst>
            </a:custGeom>
            <a:noFill/>
            <a:ln w="9525" cap="flat">
              <a:solidFill>
                <a:srgbClr val="CC606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10928643-AD9D-474C-959E-46C08BD532D3}"/>
                </a:ext>
              </a:extLst>
            </p:cNvPr>
            <p:cNvSpPr/>
            <p:nvPr/>
          </p:nvSpPr>
          <p:spPr>
            <a:xfrm>
              <a:off x="9387057" y="1070661"/>
              <a:ext cx="1065512" cy="1497112"/>
            </a:xfrm>
            <a:custGeom>
              <a:avLst/>
              <a:gdLst>
                <a:gd name="connsiteX0" fmla="*/ 183897 w 752475"/>
                <a:gd name="connsiteY0" fmla="*/ 47762 h 1057275"/>
                <a:gd name="connsiteX1" fmla="*/ 1969 w 752475"/>
                <a:gd name="connsiteY1" fmla="*/ 500961 h 1057275"/>
                <a:gd name="connsiteX2" fmla="*/ 25115 w 752475"/>
                <a:gd name="connsiteY2" fmla="*/ 639836 h 1057275"/>
                <a:gd name="connsiteX3" fmla="*/ 388875 w 752475"/>
                <a:gd name="connsiteY3" fmla="*/ 1066270 h 1057275"/>
                <a:gd name="connsiteX4" fmla="*/ 743014 w 752475"/>
                <a:gd name="connsiteY4" fmla="*/ 618119 h 1057275"/>
                <a:gd name="connsiteX5" fmla="*/ 649098 w 752475"/>
                <a:gd name="connsiteY5" fmla="*/ 71193 h 1057275"/>
                <a:gd name="connsiteX6" fmla="*/ 256382 w 752475"/>
                <a:gd name="connsiteY6" fmla="*/ 3756 h 1057275"/>
                <a:gd name="connsiteX7" fmla="*/ 183897 w 752475"/>
                <a:gd name="connsiteY7" fmla="*/ 47762 h 1057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52475" h="1057275">
                  <a:moveTo>
                    <a:pt x="183897" y="47762"/>
                  </a:moveTo>
                  <a:cubicBezTo>
                    <a:pt x="53309" y="159681"/>
                    <a:pt x="-12509" y="329607"/>
                    <a:pt x="1969" y="500961"/>
                  </a:cubicBezTo>
                  <a:cubicBezTo>
                    <a:pt x="5589" y="543253"/>
                    <a:pt x="12637" y="589734"/>
                    <a:pt x="25115" y="639836"/>
                  </a:cubicBezTo>
                  <a:cubicBezTo>
                    <a:pt x="78074" y="854244"/>
                    <a:pt x="128747" y="1006072"/>
                    <a:pt x="388875" y="1066270"/>
                  </a:cubicBezTo>
                  <a:cubicBezTo>
                    <a:pt x="388875" y="1066270"/>
                    <a:pt x="694818" y="989213"/>
                    <a:pt x="743014" y="618119"/>
                  </a:cubicBezTo>
                  <a:cubicBezTo>
                    <a:pt x="791211" y="247120"/>
                    <a:pt x="675577" y="97768"/>
                    <a:pt x="649098" y="71193"/>
                  </a:cubicBezTo>
                  <a:cubicBezTo>
                    <a:pt x="622618" y="44714"/>
                    <a:pt x="340678" y="-15579"/>
                    <a:pt x="256382" y="3756"/>
                  </a:cubicBezTo>
                  <a:cubicBezTo>
                    <a:pt x="235237" y="8709"/>
                    <a:pt x="209995" y="25473"/>
                    <a:pt x="183897" y="47762"/>
                  </a:cubicBezTo>
                  <a:close/>
                </a:path>
              </a:pathLst>
            </a:custGeom>
            <a:solidFill>
              <a:srgbClr val="FFA1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E69B82DD-5FD1-494F-B473-F714979D0370}"/>
                </a:ext>
              </a:extLst>
            </p:cNvPr>
            <p:cNvSpPr/>
            <p:nvPr/>
          </p:nvSpPr>
          <p:spPr>
            <a:xfrm>
              <a:off x="9330637" y="981976"/>
              <a:ext cx="1159924" cy="984587"/>
            </a:xfrm>
            <a:custGeom>
              <a:avLst/>
              <a:gdLst>
                <a:gd name="connsiteX0" fmla="*/ 64960 w 819150"/>
                <a:gd name="connsiteY0" fmla="*/ 702561 h 695325"/>
                <a:gd name="connsiteX1" fmla="*/ 71438 w 819150"/>
                <a:gd name="connsiteY1" fmla="*/ 458340 h 695325"/>
                <a:gd name="connsiteX2" fmla="*/ 366427 w 819150"/>
                <a:gd name="connsiteY2" fmla="*/ 220120 h 695325"/>
                <a:gd name="connsiteX3" fmla="*/ 674275 w 819150"/>
                <a:gd name="connsiteY3" fmla="*/ 165161 h 695325"/>
                <a:gd name="connsiteX4" fmla="*/ 782955 w 819150"/>
                <a:gd name="connsiteY4" fmla="*/ 680844 h 695325"/>
                <a:gd name="connsiteX5" fmla="*/ 828199 w 819150"/>
                <a:gd name="connsiteY5" fmla="*/ 485867 h 695325"/>
                <a:gd name="connsiteX6" fmla="*/ 751237 w 819150"/>
                <a:gd name="connsiteY6" fmla="*/ 163446 h 695325"/>
                <a:gd name="connsiteX7" fmla="*/ 370142 w 819150"/>
                <a:gd name="connsiteY7" fmla="*/ 4093 h 695325"/>
                <a:gd name="connsiteX8" fmla="*/ 71438 w 819150"/>
                <a:gd name="connsiteY8" fmla="*/ 187259 h 695325"/>
                <a:gd name="connsiteX9" fmla="*/ 0 w 819150"/>
                <a:gd name="connsiteY9" fmla="*/ 392427 h 695325"/>
                <a:gd name="connsiteX10" fmla="*/ 20193 w 819150"/>
                <a:gd name="connsiteY10" fmla="*/ 630647 h 695325"/>
                <a:gd name="connsiteX11" fmla="*/ 64960 w 819150"/>
                <a:gd name="connsiteY11" fmla="*/ 702561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19150" h="695325">
                  <a:moveTo>
                    <a:pt x="64960" y="702561"/>
                  </a:moveTo>
                  <a:cubicBezTo>
                    <a:pt x="64960" y="702561"/>
                    <a:pt x="71438" y="526158"/>
                    <a:pt x="71438" y="458340"/>
                  </a:cubicBezTo>
                  <a:cubicBezTo>
                    <a:pt x="71438" y="458340"/>
                    <a:pt x="186880" y="291653"/>
                    <a:pt x="366427" y="220120"/>
                  </a:cubicBezTo>
                  <a:cubicBezTo>
                    <a:pt x="545973" y="148587"/>
                    <a:pt x="670560" y="165161"/>
                    <a:pt x="674275" y="165161"/>
                  </a:cubicBezTo>
                  <a:cubicBezTo>
                    <a:pt x="677894" y="165161"/>
                    <a:pt x="724853" y="579022"/>
                    <a:pt x="782955" y="680844"/>
                  </a:cubicBezTo>
                  <a:cubicBezTo>
                    <a:pt x="782955" y="680844"/>
                    <a:pt x="822674" y="586642"/>
                    <a:pt x="828199" y="485867"/>
                  </a:cubicBezTo>
                  <a:cubicBezTo>
                    <a:pt x="833723" y="385093"/>
                    <a:pt x="786098" y="198212"/>
                    <a:pt x="751237" y="163446"/>
                  </a:cubicBezTo>
                  <a:cubicBezTo>
                    <a:pt x="716471" y="128680"/>
                    <a:pt x="544163" y="-27054"/>
                    <a:pt x="370142" y="4093"/>
                  </a:cubicBezTo>
                  <a:cubicBezTo>
                    <a:pt x="196120" y="35240"/>
                    <a:pt x="120872" y="110297"/>
                    <a:pt x="71438" y="187259"/>
                  </a:cubicBezTo>
                  <a:cubicBezTo>
                    <a:pt x="22003" y="264221"/>
                    <a:pt x="0" y="324704"/>
                    <a:pt x="0" y="392427"/>
                  </a:cubicBezTo>
                  <a:cubicBezTo>
                    <a:pt x="0" y="460245"/>
                    <a:pt x="3619" y="588452"/>
                    <a:pt x="20193" y="630647"/>
                  </a:cubicBezTo>
                  <a:cubicBezTo>
                    <a:pt x="36576" y="672748"/>
                    <a:pt x="64960" y="702561"/>
                    <a:pt x="64960" y="702561"/>
                  </a:cubicBez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922421D5-855F-4253-8A1A-957576ECD9EF}"/>
                </a:ext>
              </a:extLst>
            </p:cNvPr>
            <p:cNvSpPr/>
            <p:nvPr/>
          </p:nvSpPr>
          <p:spPr>
            <a:xfrm>
              <a:off x="10283907" y="1190708"/>
              <a:ext cx="148362" cy="701350"/>
            </a:xfrm>
            <a:custGeom>
              <a:avLst/>
              <a:gdLst>
                <a:gd name="connsiteX0" fmla="*/ 3733 w 104775"/>
                <a:gd name="connsiteY0" fmla="*/ 1465 h 495300"/>
                <a:gd name="connsiteX1" fmla="*/ 20116 w 104775"/>
                <a:gd name="connsiteY1" fmla="*/ 259306 h 495300"/>
                <a:gd name="connsiteX2" fmla="*/ 102603 w 104775"/>
                <a:gd name="connsiteY2" fmla="*/ 503813 h 495300"/>
                <a:gd name="connsiteX3" fmla="*/ 106317 w 104775"/>
                <a:gd name="connsiteY3" fmla="*/ 502289 h 495300"/>
                <a:gd name="connsiteX4" fmla="*/ 29927 w 104775"/>
                <a:gd name="connsiteY4" fmla="*/ 265498 h 495300"/>
                <a:gd name="connsiteX5" fmla="*/ 6971 w 104775"/>
                <a:gd name="connsiteY5" fmla="*/ 1465 h 495300"/>
                <a:gd name="connsiteX6" fmla="*/ 3733 w 104775"/>
                <a:gd name="connsiteY6" fmla="*/ 1465 h 495300"/>
                <a:gd name="connsiteX7" fmla="*/ 3733 w 104775"/>
                <a:gd name="connsiteY7" fmla="*/ 1465 h 495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775" h="495300">
                  <a:moveTo>
                    <a:pt x="3733" y="1465"/>
                  </a:moveTo>
                  <a:cubicBezTo>
                    <a:pt x="-5697" y="86523"/>
                    <a:pt x="3828" y="175582"/>
                    <a:pt x="20116" y="259306"/>
                  </a:cubicBezTo>
                  <a:cubicBezTo>
                    <a:pt x="36023" y="341031"/>
                    <a:pt x="58121" y="432376"/>
                    <a:pt x="102603" y="503813"/>
                  </a:cubicBezTo>
                  <a:cubicBezTo>
                    <a:pt x="103745" y="505718"/>
                    <a:pt x="106984" y="504480"/>
                    <a:pt x="106317" y="502289"/>
                  </a:cubicBezTo>
                  <a:cubicBezTo>
                    <a:pt x="80981" y="422374"/>
                    <a:pt x="47167" y="348365"/>
                    <a:pt x="29927" y="265498"/>
                  </a:cubicBezTo>
                  <a:cubicBezTo>
                    <a:pt x="11543" y="177391"/>
                    <a:pt x="9448" y="90904"/>
                    <a:pt x="6971" y="1465"/>
                  </a:cubicBezTo>
                  <a:cubicBezTo>
                    <a:pt x="6781" y="-536"/>
                    <a:pt x="3923" y="-440"/>
                    <a:pt x="3733" y="1465"/>
                  </a:cubicBezTo>
                  <a:lnTo>
                    <a:pt x="3733" y="1465"/>
                  </a:ln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5329ABC7-A430-4E15-BFE5-AEF05F7EE672}"/>
                </a:ext>
              </a:extLst>
            </p:cNvPr>
            <p:cNvSpPr/>
            <p:nvPr/>
          </p:nvSpPr>
          <p:spPr>
            <a:xfrm>
              <a:off x="9483913" y="1204031"/>
              <a:ext cx="795762" cy="404625"/>
            </a:xfrm>
            <a:custGeom>
              <a:avLst/>
              <a:gdLst>
                <a:gd name="connsiteX0" fmla="*/ 562315 w 561975"/>
                <a:gd name="connsiteY0" fmla="*/ 819 h 285750"/>
                <a:gd name="connsiteX1" fmla="*/ 244 w 561975"/>
                <a:gd name="connsiteY1" fmla="*/ 283902 h 285750"/>
                <a:gd name="connsiteX2" fmla="*/ 3197 w 561975"/>
                <a:gd name="connsiteY2" fmla="*/ 286188 h 285750"/>
                <a:gd name="connsiteX3" fmla="*/ 242561 w 561975"/>
                <a:gd name="connsiteY3" fmla="*/ 80924 h 285750"/>
                <a:gd name="connsiteX4" fmla="*/ 562315 w 561975"/>
                <a:gd name="connsiteY4" fmla="*/ 5676 h 285750"/>
                <a:gd name="connsiteX5" fmla="*/ 562315 w 561975"/>
                <a:gd name="connsiteY5" fmla="*/ 819 h 285750"/>
                <a:gd name="connsiteX6" fmla="*/ 562315 w 561975"/>
                <a:gd name="connsiteY6" fmla="*/ 819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1975" h="285750">
                  <a:moveTo>
                    <a:pt x="562315" y="819"/>
                  </a:moveTo>
                  <a:cubicBezTo>
                    <a:pt x="352670" y="-10707"/>
                    <a:pt x="109972" y="100260"/>
                    <a:pt x="244" y="283902"/>
                  </a:cubicBezTo>
                  <a:cubicBezTo>
                    <a:pt x="-803" y="285711"/>
                    <a:pt x="1768" y="287902"/>
                    <a:pt x="3197" y="286188"/>
                  </a:cubicBezTo>
                  <a:cubicBezTo>
                    <a:pt x="72730" y="203225"/>
                    <a:pt x="145120" y="131311"/>
                    <a:pt x="242561" y="80924"/>
                  </a:cubicBezTo>
                  <a:cubicBezTo>
                    <a:pt x="342478" y="29298"/>
                    <a:pt x="450491" y="7105"/>
                    <a:pt x="562315" y="5676"/>
                  </a:cubicBezTo>
                  <a:cubicBezTo>
                    <a:pt x="565553" y="5676"/>
                    <a:pt x="565458" y="1009"/>
                    <a:pt x="562315" y="819"/>
                  </a:cubicBezTo>
                  <a:lnTo>
                    <a:pt x="562315" y="819"/>
                  </a:ln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960651BE-40B1-477D-96A8-994F115581FB}"/>
                </a:ext>
              </a:extLst>
            </p:cNvPr>
            <p:cNvSpPr/>
            <p:nvPr/>
          </p:nvSpPr>
          <p:spPr>
            <a:xfrm>
              <a:off x="10158229" y="1438604"/>
              <a:ext cx="134875" cy="67437"/>
            </a:xfrm>
            <a:custGeom>
              <a:avLst/>
              <a:gdLst>
                <a:gd name="connsiteX0" fmla="*/ 13716 w 95250"/>
                <a:gd name="connsiteY0" fmla="*/ 28614 h 47625"/>
                <a:gd name="connsiteX1" fmla="*/ 75057 w 95250"/>
                <a:gd name="connsiteY1" fmla="*/ 48426 h 47625"/>
                <a:gd name="connsiteX2" fmla="*/ 89440 w 95250"/>
                <a:gd name="connsiteY2" fmla="*/ 23756 h 47625"/>
                <a:gd name="connsiteX3" fmla="*/ 13716 w 95250"/>
                <a:gd name="connsiteY3" fmla="*/ 39 h 47625"/>
                <a:gd name="connsiteX4" fmla="*/ 13716 w 95250"/>
                <a:gd name="connsiteY4" fmla="*/ 28614 h 47625"/>
                <a:gd name="connsiteX5" fmla="*/ 13716 w 95250"/>
                <a:gd name="connsiteY5" fmla="*/ 2861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250" h="47625">
                  <a:moveTo>
                    <a:pt x="13716" y="28614"/>
                  </a:moveTo>
                  <a:cubicBezTo>
                    <a:pt x="35814" y="30043"/>
                    <a:pt x="56198" y="36901"/>
                    <a:pt x="75057" y="48426"/>
                  </a:cubicBezTo>
                  <a:cubicBezTo>
                    <a:pt x="90773" y="58046"/>
                    <a:pt x="105156" y="33281"/>
                    <a:pt x="89440" y="23756"/>
                  </a:cubicBezTo>
                  <a:cubicBezTo>
                    <a:pt x="66199" y="9564"/>
                    <a:pt x="40767" y="1849"/>
                    <a:pt x="13716" y="39"/>
                  </a:cubicBezTo>
                  <a:cubicBezTo>
                    <a:pt x="-4572" y="-1199"/>
                    <a:pt x="-4572" y="27471"/>
                    <a:pt x="13716" y="28614"/>
                  </a:cubicBezTo>
                  <a:lnTo>
                    <a:pt x="13716" y="28614"/>
                  </a:ln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B74FBE25-51F4-4ACB-A310-A10BC35793DE}"/>
                </a:ext>
              </a:extLst>
            </p:cNvPr>
            <p:cNvSpPr/>
            <p:nvPr/>
          </p:nvSpPr>
          <p:spPr>
            <a:xfrm>
              <a:off x="9542207" y="1438604"/>
              <a:ext cx="134875" cy="67437"/>
            </a:xfrm>
            <a:custGeom>
              <a:avLst/>
              <a:gdLst>
                <a:gd name="connsiteX0" fmla="*/ 82520 w 95250"/>
                <a:gd name="connsiteY0" fmla="*/ 39 h 47625"/>
                <a:gd name="connsiteX1" fmla="*/ 6797 w 95250"/>
                <a:gd name="connsiteY1" fmla="*/ 23756 h 47625"/>
                <a:gd name="connsiteX2" fmla="*/ 21179 w 95250"/>
                <a:gd name="connsiteY2" fmla="*/ 48426 h 47625"/>
                <a:gd name="connsiteX3" fmla="*/ 82520 w 95250"/>
                <a:gd name="connsiteY3" fmla="*/ 28614 h 47625"/>
                <a:gd name="connsiteX4" fmla="*/ 82520 w 95250"/>
                <a:gd name="connsiteY4" fmla="*/ 39 h 47625"/>
                <a:gd name="connsiteX5" fmla="*/ 82520 w 95250"/>
                <a:gd name="connsiteY5" fmla="*/ 39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250" h="47625">
                  <a:moveTo>
                    <a:pt x="82520" y="39"/>
                  </a:moveTo>
                  <a:cubicBezTo>
                    <a:pt x="55469" y="1849"/>
                    <a:pt x="29942" y="9564"/>
                    <a:pt x="6797" y="23756"/>
                  </a:cubicBezTo>
                  <a:cubicBezTo>
                    <a:pt x="-8920" y="33281"/>
                    <a:pt x="5463" y="58046"/>
                    <a:pt x="21179" y="48426"/>
                  </a:cubicBezTo>
                  <a:cubicBezTo>
                    <a:pt x="40039" y="36901"/>
                    <a:pt x="60422" y="30138"/>
                    <a:pt x="82520" y="28614"/>
                  </a:cubicBezTo>
                  <a:cubicBezTo>
                    <a:pt x="100808" y="27471"/>
                    <a:pt x="100904" y="-1199"/>
                    <a:pt x="82520" y="39"/>
                  </a:cubicBezTo>
                  <a:lnTo>
                    <a:pt x="82520" y="39"/>
                  </a:ln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B48140B9-BEDC-4BC7-9729-946C158D4671}"/>
                </a:ext>
              </a:extLst>
            </p:cNvPr>
            <p:cNvSpPr/>
            <p:nvPr/>
          </p:nvSpPr>
          <p:spPr>
            <a:xfrm>
              <a:off x="9467854" y="1748066"/>
              <a:ext cx="903662" cy="229287"/>
            </a:xfrm>
            <a:custGeom>
              <a:avLst/>
              <a:gdLst>
                <a:gd name="connsiteX0" fmla="*/ 10157 w 638175"/>
                <a:gd name="connsiteY0" fmla="*/ 107249 h 161925"/>
                <a:gd name="connsiteX1" fmla="*/ 126267 w 638175"/>
                <a:gd name="connsiteY1" fmla="*/ 149254 h 161925"/>
                <a:gd name="connsiteX2" fmla="*/ 280000 w 638175"/>
                <a:gd name="connsiteY2" fmla="*/ 158779 h 161925"/>
                <a:gd name="connsiteX3" fmla="*/ 578990 w 638175"/>
                <a:gd name="connsiteY3" fmla="*/ 156874 h 161925"/>
                <a:gd name="connsiteX4" fmla="*/ 595849 w 638175"/>
                <a:gd name="connsiteY4" fmla="*/ 21333 h 161925"/>
                <a:gd name="connsiteX5" fmla="*/ 289049 w 638175"/>
                <a:gd name="connsiteY5" fmla="*/ 378 h 161925"/>
                <a:gd name="connsiteX6" fmla="*/ 143602 w 638175"/>
                <a:gd name="connsiteY6" fmla="*/ 5712 h 161925"/>
                <a:gd name="connsiteX7" fmla="*/ 10062 w 638175"/>
                <a:gd name="connsiteY7" fmla="*/ 52575 h 161925"/>
                <a:gd name="connsiteX8" fmla="*/ 10157 w 638175"/>
                <a:gd name="connsiteY8" fmla="*/ 107249 h 161925"/>
                <a:gd name="connsiteX9" fmla="*/ 10157 w 638175"/>
                <a:gd name="connsiteY9" fmla="*/ 107249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8175" h="161925">
                  <a:moveTo>
                    <a:pt x="10157" y="107249"/>
                  </a:moveTo>
                  <a:cubicBezTo>
                    <a:pt x="39970" y="139729"/>
                    <a:pt x="86166" y="142777"/>
                    <a:pt x="126267" y="149254"/>
                  </a:cubicBezTo>
                  <a:cubicBezTo>
                    <a:pt x="177225" y="157446"/>
                    <a:pt x="228565" y="158208"/>
                    <a:pt x="280000" y="158779"/>
                  </a:cubicBezTo>
                  <a:cubicBezTo>
                    <a:pt x="379441" y="159922"/>
                    <a:pt x="480025" y="169257"/>
                    <a:pt x="578990" y="156874"/>
                  </a:cubicBezTo>
                  <a:cubicBezTo>
                    <a:pt x="643474" y="148778"/>
                    <a:pt x="672144" y="37716"/>
                    <a:pt x="595849" y="21333"/>
                  </a:cubicBezTo>
                  <a:cubicBezTo>
                    <a:pt x="494979" y="-288"/>
                    <a:pt x="391443" y="1617"/>
                    <a:pt x="289049" y="378"/>
                  </a:cubicBezTo>
                  <a:cubicBezTo>
                    <a:pt x="240757" y="-193"/>
                    <a:pt x="191608" y="-1050"/>
                    <a:pt x="143602" y="5712"/>
                  </a:cubicBezTo>
                  <a:cubicBezTo>
                    <a:pt x="99692" y="11904"/>
                    <a:pt x="42066" y="15809"/>
                    <a:pt x="10062" y="52575"/>
                  </a:cubicBezTo>
                  <a:cubicBezTo>
                    <a:pt x="-3083" y="67625"/>
                    <a:pt x="-3654" y="92199"/>
                    <a:pt x="10157" y="107249"/>
                  </a:cubicBezTo>
                  <a:lnTo>
                    <a:pt x="10157" y="107249"/>
                  </a:lnTo>
                  <a:close/>
                </a:path>
              </a:pathLst>
            </a:custGeom>
            <a:solidFill>
              <a:srgbClr val="F28B8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E38BDC97-D2D0-4F13-8051-5229DD5B94B6}"/>
                </a:ext>
              </a:extLst>
            </p:cNvPr>
            <p:cNvSpPr/>
            <p:nvPr/>
          </p:nvSpPr>
          <p:spPr>
            <a:xfrm>
              <a:off x="9790964" y="1424767"/>
              <a:ext cx="121387" cy="606937"/>
            </a:xfrm>
            <a:custGeom>
              <a:avLst/>
              <a:gdLst>
                <a:gd name="connsiteX0" fmla="*/ 0 w 85725"/>
                <a:gd name="connsiteY0" fmla="*/ 0 h 428625"/>
                <a:gd name="connsiteX1" fmla="*/ 64484 w 85725"/>
                <a:gd name="connsiteY1" fmla="*/ 73914 h 428625"/>
                <a:gd name="connsiteX2" fmla="*/ 89249 w 85725"/>
                <a:gd name="connsiteY2" fmla="*/ 170116 h 428625"/>
                <a:gd name="connsiteX3" fmla="*/ 81534 w 85725"/>
                <a:gd name="connsiteY3" fmla="*/ 428911 h 428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725" h="428625">
                  <a:moveTo>
                    <a:pt x="0" y="0"/>
                  </a:moveTo>
                  <a:cubicBezTo>
                    <a:pt x="28956" y="16383"/>
                    <a:pt x="50578" y="43720"/>
                    <a:pt x="64484" y="73914"/>
                  </a:cubicBezTo>
                  <a:cubicBezTo>
                    <a:pt x="78391" y="104108"/>
                    <a:pt x="85154" y="137160"/>
                    <a:pt x="89249" y="170116"/>
                  </a:cubicBezTo>
                  <a:cubicBezTo>
                    <a:pt x="100013" y="256032"/>
                    <a:pt x="93917" y="343281"/>
                    <a:pt x="81534" y="428911"/>
                  </a:cubicBezTo>
                </a:path>
              </a:pathLst>
            </a:custGeom>
            <a:noFill/>
            <a:ln w="9525" cap="rnd">
              <a:solidFill>
                <a:srgbClr val="1C172B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7F01C60C-2EAC-43B8-A7E4-C4B647B56CCD}"/>
                </a:ext>
              </a:extLst>
            </p:cNvPr>
            <p:cNvSpPr/>
            <p:nvPr/>
          </p:nvSpPr>
          <p:spPr>
            <a:xfrm>
              <a:off x="9924626" y="2106425"/>
              <a:ext cx="161850" cy="80925"/>
            </a:xfrm>
            <a:custGeom>
              <a:avLst/>
              <a:gdLst>
                <a:gd name="connsiteX0" fmla="*/ 0 w 114300"/>
                <a:gd name="connsiteY0" fmla="*/ 64960 h 57150"/>
                <a:gd name="connsiteX1" fmla="*/ 68485 w 114300"/>
                <a:gd name="connsiteY1" fmla="*/ 51911 h 57150"/>
                <a:gd name="connsiteX2" fmla="*/ 115062 w 114300"/>
                <a:gd name="connsiteY2" fmla="*/ 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4300" h="57150">
                  <a:moveTo>
                    <a:pt x="0" y="64960"/>
                  </a:moveTo>
                  <a:cubicBezTo>
                    <a:pt x="23431" y="68199"/>
                    <a:pt x="47911" y="63532"/>
                    <a:pt x="68485" y="51911"/>
                  </a:cubicBezTo>
                  <a:cubicBezTo>
                    <a:pt x="89059" y="40291"/>
                    <a:pt x="105727" y="21717"/>
                    <a:pt x="115062" y="0"/>
                  </a:cubicBezTo>
                </a:path>
              </a:pathLst>
            </a:custGeom>
            <a:noFill/>
            <a:ln w="9525" cap="flat">
              <a:solidFill>
                <a:srgbClr val="1C172B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FB1ACE7C-3E50-4C7C-BC03-58905514BFDA}"/>
                </a:ext>
              </a:extLst>
            </p:cNvPr>
            <p:cNvSpPr/>
            <p:nvPr/>
          </p:nvSpPr>
          <p:spPr>
            <a:xfrm>
              <a:off x="9549372" y="1627016"/>
              <a:ext cx="202312" cy="161850"/>
            </a:xfrm>
            <a:custGeom>
              <a:avLst/>
              <a:gdLst>
                <a:gd name="connsiteX0" fmla="*/ 144517 w 142875"/>
                <a:gd name="connsiteY0" fmla="*/ 71959 h 114300"/>
                <a:gd name="connsiteX1" fmla="*/ 75175 w 142875"/>
                <a:gd name="connsiteY1" fmla="*/ 1760 h 114300"/>
                <a:gd name="connsiteX2" fmla="*/ 22 w 142875"/>
                <a:gd name="connsiteY2" fmla="*/ 50909 h 114300"/>
                <a:gd name="connsiteX3" fmla="*/ 67269 w 142875"/>
                <a:gd name="connsiteY3" fmla="*/ 121584 h 114300"/>
                <a:gd name="connsiteX4" fmla="*/ 144517 w 142875"/>
                <a:gd name="connsiteY4" fmla="*/ 71959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875" h="114300">
                  <a:moveTo>
                    <a:pt x="144517" y="71959"/>
                  </a:moveTo>
                  <a:cubicBezTo>
                    <a:pt x="144517" y="71959"/>
                    <a:pt x="130420" y="12523"/>
                    <a:pt x="75175" y="1760"/>
                  </a:cubicBezTo>
                  <a:cubicBezTo>
                    <a:pt x="26311" y="-7765"/>
                    <a:pt x="975" y="23191"/>
                    <a:pt x="22" y="50909"/>
                  </a:cubicBezTo>
                  <a:cubicBezTo>
                    <a:pt x="-930" y="78627"/>
                    <a:pt x="28502" y="120918"/>
                    <a:pt x="67269" y="121584"/>
                  </a:cubicBezTo>
                  <a:cubicBezTo>
                    <a:pt x="106036" y="122251"/>
                    <a:pt x="135658" y="95676"/>
                    <a:pt x="144517" y="71959"/>
                  </a:cubicBezTo>
                  <a:close/>
                </a:path>
              </a:pathLst>
            </a:custGeom>
            <a:solidFill>
              <a:srgbClr val="FEFEF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C289796D-8183-4527-AE81-D148A8A0F3ED}"/>
                </a:ext>
              </a:extLst>
            </p:cNvPr>
            <p:cNvSpPr/>
            <p:nvPr/>
          </p:nvSpPr>
          <p:spPr>
            <a:xfrm>
              <a:off x="9588536" y="1638400"/>
              <a:ext cx="134875" cy="134875"/>
            </a:xfrm>
            <a:custGeom>
              <a:avLst/>
              <a:gdLst>
                <a:gd name="connsiteX0" fmla="*/ 53037 w 95250"/>
                <a:gd name="connsiteY0" fmla="*/ 4943 h 95250"/>
                <a:gd name="connsiteX1" fmla="*/ 91246 w 95250"/>
                <a:gd name="connsiteY1" fmla="*/ 53037 h 95250"/>
                <a:gd name="connsiteX2" fmla="*/ 43152 w 95250"/>
                <a:gd name="connsiteY2" fmla="*/ 91246 h 95250"/>
                <a:gd name="connsiteX3" fmla="*/ 4943 w 95250"/>
                <a:gd name="connsiteY3" fmla="*/ 43152 h 95250"/>
                <a:gd name="connsiteX4" fmla="*/ 53037 w 95250"/>
                <a:gd name="connsiteY4" fmla="*/ 4943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53037" y="4943"/>
                  </a:moveTo>
                  <a:cubicBezTo>
                    <a:pt x="76869" y="7673"/>
                    <a:pt x="93976" y="29205"/>
                    <a:pt x="91246" y="53037"/>
                  </a:cubicBezTo>
                  <a:cubicBezTo>
                    <a:pt x="88516" y="76869"/>
                    <a:pt x="66984" y="93976"/>
                    <a:pt x="43152" y="91246"/>
                  </a:cubicBezTo>
                  <a:cubicBezTo>
                    <a:pt x="19320" y="88516"/>
                    <a:pt x="2213" y="66984"/>
                    <a:pt x="4943" y="43152"/>
                  </a:cubicBezTo>
                  <a:cubicBezTo>
                    <a:pt x="7673" y="19320"/>
                    <a:pt x="29205" y="2213"/>
                    <a:pt x="53037" y="4943"/>
                  </a:cubicBez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CE96FF1C-CF92-40F8-9043-2C9B4A8A26DF}"/>
                </a:ext>
              </a:extLst>
            </p:cNvPr>
            <p:cNvSpPr/>
            <p:nvPr/>
          </p:nvSpPr>
          <p:spPr>
            <a:xfrm>
              <a:off x="9470244" y="1613064"/>
              <a:ext cx="296725" cy="107900"/>
            </a:xfrm>
            <a:custGeom>
              <a:avLst/>
              <a:gdLst>
                <a:gd name="connsiteX0" fmla="*/ 21137 w 209550"/>
                <a:gd name="connsiteY0" fmla="*/ 57619 h 76200"/>
                <a:gd name="connsiteX1" fmla="*/ 192111 w 209550"/>
                <a:gd name="connsiteY1" fmla="*/ 76573 h 76200"/>
                <a:gd name="connsiteX2" fmla="*/ 216781 w 209550"/>
                <a:gd name="connsiteY2" fmla="*/ 62191 h 76200"/>
                <a:gd name="connsiteX3" fmla="*/ 6755 w 209550"/>
                <a:gd name="connsiteY3" fmla="*/ 33044 h 76200"/>
                <a:gd name="connsiteX4" fmla="*/ 21137 w 209550"/>
                <a:gd name="connsiteY4" fmla="*/ 57619 h 76200"/>
                <a:gd name="connsiteX5" fmla="*/ 21137 w 209550"/>
                <a:gd name="connsiteY5" fmla="*/ 57619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76200">
                  <a:moveTo>
                    <a:pt x="21137" y="57619"/>
                  </a:moveTo>
                  <a:cubicBezTo>
                    <a:pt x="75144" y="23805"/>
                    <a:pt x="157726" y="5612"/>
                    <a:pt x="192111" y="76573"/>
                  </a:cubicBezTo>
                  <a:cubicBezTo>
                    <a:pt x="200112" y="93147"/>
                    <a:pt x="224782" y="78669"/>
                    <a:pt x="216781" y="62191"/>
                  </a:cubicBezTo>
                  <a:cubicBezTo>
                    <a:pt x="175823" y="-22391"/>
                    <a:pt x="73715" y="-8866"/>
                    <a:pt x="6755" y="33044"/>
                  </a:cubicBezTo>
                  <a:cubicBezTo>
                    <a:pt x="-8866" y="42664"/>
                    <a:pt x="5421" y="67429"/>
                    <a:pt x="21137" y="57619"/>
                  </a:cubicBezTo>
                  <a:lnTo>
                    <a:pt x="21137" y="57619"/>
                  </a:ln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81630AFC-7DA0-482B-985A-527FCD06F4C1}"/>
                </a:ext>
              </a:extLst>
            </p:cNvPr>
            <p:cNvSpPr/>
            <p:nvPr/>
          </p:nvSpPr>
          <p:spPr>
            <a:xfrm>
              <a:off x="10073528" y="1627016"/>
              <a:ext cx="202312" cy="161850"/>
            </a:xfrm>
            <a:custGeom>
              <a:avLst/>
              <a:gdLst>
                <a:gd name="connsiteX0" fmla="*/ 0 w 142875"/>
                <a:gd name="connsiteY0" fmla="*/ 71959 h 114300"/>
                <a:gd name="connsiteX1" fmla="*/ 69342 w 142875"/>
                <a:gd name="connsiteY1" fmla="*/ 1760 h 114300"/>
                <a:gd name="connsiteX2" fmla="*/ 144494 w 142875"/>
                <a:gd name="connsiteY2" fmla="*/ 50909 h 114300"/>
                <a:gd name="connsiteX3" fmla="*/ 77248 w 142875"/>
                <a:gd name="connsiteY3" fmla="*/ 121584 h 114300"/>
                <a:gd name="connsiteX4" fmla="*/ 0 w 142875"/>
                <a:gd name="connsiteY4" fmla="*/ 71959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875" h="114300">
                  <a:moveTo>
                    <a:pt x="0" y="71959"/>
                  </a:moveTo>
                  <a:cubicBezTo>
                    <a:pt x="0" y="71959"/>
                    <a:pt x="14097" y="12523"/>
                    <a:pt x="69342" y="1760"/>
                  </a:cubicBezTo>
                  <a:cubicBezTo>
                    <a:pt x="118205" y="-7765"/>
                    <a:pt x="143542" y="23191"/>
                    <a:pt x="144494" y="50909"/>
                  </a:cubicBezTo>
                  <a:cubicBezTo>
                    <a:pt x="145447" y="78627"/>
                    <a:pt x="116015" y="120918"/>
                    <a:pt x="77248" y="121584"/>
                  </a:cubicBezTo>
                  <a:cubicBezTo>
                    <a:pt x="38481" y="122251"/>
                    <a:pt x="8953" y="95676"/>
                    <a:pt x="0" y="71959"/>
                  </a:cubicBezTo>
                  <a:close/>
                </a:path>
              </a:pathLst>
            </a:custGeom>
            <a:solidFill>
              <a:srgbClr val="FEFEF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0125841E-DC5B-4078-AEC3-85A7A7745628}"/>
                </a:ext>
              </a:extLst>
            </p:cNvPr>
            <p:cNvSpPr/>
            <p:nvPr/>
          </p:nvSpPr>
          <p:spPr>
            <a:xfrm>
              <a:off x="10109576" y="1647078"/>
              <a:ext cx="121387" cy="121387"/>
            </a:xfrm>
            <a:custGeom>
              <a:avLst/>
              <a:gdLst>
                <a:gd name="connsiteX0" fmla="*/ 1307 w 85725"/>
                <a:gd name="connsiteY0" fmla="*/ 53980 h 85725"/>
                <a:gd name="connsiteX1" fmla="*/ 53980 w 85725"/>
                <a:gd name="connsiteY1" fmla="*/ 85603 h 85725"/>
                <a:gd name="connsiteX2" fmla="*/ 85603 w 85725"/>
                <a:gd name="connsiteY2" fmla="*/ 32930 h 85725"/>
                <a:gd name="connsiteX3" fmla="*/ 32930 w 85725"/>
                <a:gd name="connsiteY3" fmla="*/ 1307 h 85725"/>
                <a:gd name="connsiteX4" fmla="*/ 1307 w 85725"/>
                <a:gd name="connsiteY4" fmla="*/ 53980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725" h="85725">
                  <a:moveTo>
                    <a:pt x="1307" y="53980"/>
                  </a:moveTo>
                  <a:cubicBezTo>
                    <a:pt x="7117" y="77317"/>
                    <a:pt x="30739" y="91414"/>
                    <a:pt x="53980" y="85603"/>
                  </a:cubicBezTo>
                  <a:cubicBezTo>
                    <a:pt x="77317" y="79793"/>
                    <a:pt x="91414" y="56171"/>
                    <a:pt x="85603" y="32930"/>
                  </a:cubicBezTo>
                  <a:cubicBezTo>
                    <a:pt x="79793" y="9594"/>
                    <a:pt x="56171" y="-4503"/>
                    <a:pt x="32930" y="1307"/>
                  </a:cubicBezTo>
                  <a:cubicBezTo>
                    <a:pt x="9594" y="7117"/>
                    <a:pt x="-4503" y="30739"/>
                    <a:pt x="1307" y="53980"/>
                  </a:cubicBez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3A329E56-060D-4034-BCD4-D535E3354E2D}"/>
                </a:ext>
              </a:extLst>
            </p:cNvPr>
            <p:cNvSpPr/>
            <p:nvPr/>
          </p:nvSpPr>
          <p:spPr>
            <a:xfrm>
              <a:off x="10048232" y="1612928"/>
              <a:ext cx="296725" cy="107900"/>
            </a:xfrm>
            <a:custGeom>
              <a:avLst/>
              <a:gdLst>
                <a:gd name="connsiteX0" fmla="*/ 211602 w 209550"/>
                <a:gd name="connsiteY0" fmla="*/ 33044 h 76200"/>
                <a:gd name="connsiteX1" fmla="*/ 1576 w 209550"/>
                <a:gd name="connsiteY1" fmla="*/ 62191 h 76200"/>
                <a:gd name="connsiteX2" fmla="*/ 26245 w 209550"/>
                <a:gd name="connsiteY2" fmla="*/ 76573 h 76200"/>
                <a:gd name="connsiteX3" fmla="*/ 197219 w 209550"/>
                <a:gd name="connsiteY3" fmla="*/ 57619 h 76200"/>
                <a:gd name="connsiteX4" fmla="*/ 211602 w 209550"/>
                <a:gd name="connsiteY4" fmla="*/ 33044 h 76200"/>
                <a:gd name="connsiteX5" fmla="*/ 211602 w 209550"/>
                <a:gd name="connsiteY5" fmla="*/ 33044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76200">
                  <a:moveTo>
                    <a:pt x="211602" y="33044"/>
                  </a:moveTo>
                  <a:cubicBezTo>
                    <a:pt x="144546" y="-8866"/>
                    <a:pt x="42533" y="-22391"/>
                    <a:pt x="1576" y="62191"/>
                  </a:cubicBezTo>
                  <a:cubicBezTo>
                    <a:pt x="-6425" y="78669"/>
                    <a:pt x="18244" y="93147"/>
                    <a:pt x="26245" y="76573"/>
                  </a:cubicBezTo>
                  <a:cubicBezTo>
                    <a:pt x="60440" y="5803"/>
                    <a:pt x="143117" y="23805"/>
                    <a:pt x="197219" y="57619"/>
                  </a:cubicBezTo>
                  <a:cubicBezTo>
                    <a:pt x="212840" y="67525"/>
                    <a:pt x="227223" y="42760"/>
                    <a:pt x="211602" y="33044"/>
                  </a:cubicBezTo>
                  <a:lnTo>
                    <a:pt x="211602" y="33044"/>
                  </a:ln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9B3FE296-4208-487E-98F6-671B71B6F131}"/>
                </a:ext>
              </a:extLst>
            </p:cNvPr>
            <p:cNvSpPr/>
            <p:nvPr/>
          </p:nvSpPr>
          <p:spPr>
            <a:xfrm>
              <a:off x="9225300" y="1465161"/>
              <a:ext cx="1362237" cy="458575"/>
            </a:xfrm>
            <a:custGeom>
              <a:avLst/>
              <a:gdLst>
                <a:gd name="connsiteX0" fmla="*/ 925925 w 962025"/>
                <a:gd name="connsiteY0" fmla="*/ 33861 h 323850"/>
                <a:gd name="connsiteX1" fmla="*/ 879062 w 962025"/>
                <a:gd name="connsiteY1" fmla="*/ 20145 h 323850"/>
                <a:gd name="connsiteX2" fmla="*/ 779717 w 962025"/>
                <a:gd name="connsiteY2" fmla="*/ 1762 h 323850"/>
                <a:gd name="connsiteX3" fmla="*/ 768858 w 962025"/>
                <a:gd name="connsiteY3" fmla="*/ 429 h 323850"/>
                <a:gd name="connsiteX4" fmla="*/ 758190 w 962025"/>
                <a:gd name="connsiteY4" fmla="*/ 429 h 323850"/>
                <a:gd name="connsiteX5" fmla="*/ 716185 w 962025"/>
                <a:gd name="connsiteY5" fmla="*/ 429 h 323850"/>
                <a:gd name="connsiteX6" fmla="*/ 247460 w 962025"/>
                <a:gd name="connsiteY6" fmla="*/ 429 h 323850"/>
                <a:gd name="connsiteX7" fmla="*/ 222314 w 962025"/>
                <a:gd name="connsiteY7" fmla="*/ 429 h 323850"/>
                <a:gd name="connsiteX8" fmla="*/ 185547 w 962025"/>
                <a:gd name="connsiteY8" fmla="*/ 1667 h 323850"/>
                <a:gd name="connsiteX9" fmla="*/ 84582 w 962025"/>
                <a:gd name="connsiteY9" fmla="*/ 20145 h 323850"/>
                <a:gd name="connsiteX10" fmla="*/ 80010 w 962025"/>
                <a:gd name="connsiteY10" fmla="*/ 21479 h 323850"/>
                <a:gd name="connsiteX11" fmla="*/ 0 w 962025"/>
                <a:gd name="connsiteY11" fmla="*/ 128349 h 323850"/>
                <a:gd name="connsiteX12" fmla="*/ 0 w 962025"/>
                <a:gd name="connsiteY12" fmla="*/ 128349 h 323850"/>
                <a:gd name="connsiteX13" fmla="*/ 202597 w 962025"/>
                <a:gd name="connsiteY13" fmla="*/ 330946 h 323850"/>
                <a:gd name="connsiteX14" fmla="*/ 246697 w 962025"/>
                <a:gd name="connsiteY14" fmla="*/ 330946 h 323850"/>
                <a:gd name="connsiteX15" fmla="*/ 440722 w 962025"/>
                <a:gd name="connsiteY15" fmla="*/ 198739 h 323850"/>
                <a:gd name="connsiteX16" fmla="*/ 480251 w 962025"/>
                <a:gd name="connsiteY16" fmla="*/ 164544 h 323850"/>
                <a:gd name="connsiteX17" fmla="*/ 483489 w 962025"/>
                <a:gd name="connsiteY17" fmla="*/ 164544 h 323850"/>
                <a:gd name="connsiteX18" fmla="*/ 523018 w 962025"/>
                <a:gd name="connsiteY18" fmla="*/ 198739 h 323850"/>
                <a:gd name="connsiteX19" fmla="*/ 717042 w 962025"/>
                <a:gd name="connsiteY19" fmla="*/ 330946 h 323850"/>
                <a:gd name="connsiteX20" fmla="*/ 717042 w 962025"/>
                <a:gd name="connsiteY20" fmla="*/ 330946 h 323850"/>
                <a:gd name="connsiteX21" fmla="*/ 963740 w 962025"/>
                <a:gd name="connsiteY21" fmla="*/ 84249 h 323850"/>
                <a:gd name="connsiteX22" fmla="*/ 963740 w 962025"/>
                <a:gd name="connsiteY22" fmla="*/ 84249 h 323850"/>
                <a:gd name="connsiteX23" fmla="*/ 925925 w 962025"/>
                <a:gd name="connsiteY23" fmla="*/ 33861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962025" h="323850">
                  <a:moveTo>
                    <a:pt x="925925" y="33861"/>
                  </a:moveTo>
                  <a:lnTo>
                    <a:pt x="879062" y="20145"/>
                  </a:lnTo>
                  <a:cubicBezTo>
                    <a:pt x="846392" y="10620"/>
                    <a:pt x="813149" y="4524"/>
                    <a:pt x="779717" y="1762"/>
                  </a:cubicBezTo>
                  <a:cubicBezTo>
                    <a:pt x="777431" y="905"/>
                    <a:pt x="773906" y="429"/>
                    <a:pt x="768858" y="429"/>
                  </a:cubicBezTo>
                  <a:cubicBezTo>
                    <a:pt x="765905" y="429"/>
                    <a:pt x="762286" y="429"/>
                    <a:pt x="758190" y="429"/>
                  </a:cubicBezTo>
                  <a:cubicBezTo>
                    <a:pt x="744188" y="-143"/>
                    <a:pt x="730187" y="-143"/>
                    <a:pt x="716185" y="429"/>
                  </a:cubicBezTo>
                  <a:cubicBezTo>
                    <a:pt x="601504" y="429"/>
                    <a:pt x="361379" y="429"/>
                    <a:pt x="247460" y="429"/>
                  </a:cubicBezTo>
                  <a:cubicBezTo>
                    <a:pt x="233458" y="-143"/>
                    <a:pt x="236315" y="-143"/>
                    <a:pt x="222314" y="429"/>
                  </a:cubicBezTo>
                  <a:cubicBezTo>
                    <a:pt x="209169" y="429"/>
                    <a:pt x="185547" y="1667"/>
                    <a:pt x="185547" y="1667"/>
                  </a:cubicBezTo>
                  <a:cubicBezTo>
                    <a:pt x="151543" y="4429"/>
                    <a:pt x="117729" y="10430"/>
                    <a:pt x="84582" y="20145"/>
                  </a:cubicBezTo>
                  <a:lnTo>
                    <a:pt x="80010" y="21479"/>
                  </a:lnTo>
                  <a:cubicBezTo>
                    <a:pt x="36004" y="34338"/>
                    <a:pt x="0" y="82439"/>
                    <a:pt x="0" y="128349"/>
                  </a:cubicBezTo>
                  <a:lnTo>
                    <a:pt x="0" y="128349"/>
                  </a:lnTo>
                  <a:cubicBezTo>
                    <a:pt x="0" y="240268"/>
                    <a:pt x="90678" y="330946"/>
                    <a:pt x="202597" y="330946"/>
                  </a:cubicBezTo>
                  <a:lnTo>
                    <a:pt x="246697" y="330946"/>
                  </a:lnTo>
                  <a:cubicBezTo>
                    <a:pt x="343853" y="330946"/>
                    <a:pt x="424529" y="291227"/>
                    <a:pt x="440722" y="198739"/>
                  </a:cubicBezTo>
                  <a:cubicBezTo>
                    <a:pt x="444151" y="179213"/>
                    <a:pt x="460439" y="164544"/>
                    <a:pt x="480251" y="164544"/>
                  </a:cubicBezTo>
                  <a:lnTo>
                    <a:pt x="483489" y="164544"/>
                  </a:lnTo>
                  <a:cubicBezTo>
                    <a:pt x="503301" y="164544"/>
                    <a:pt x="519589" y="179213"/>
                    <a:pt x="523018" y="198739"/>
                  </a:cubicBezTo>
                  <a:cubicBezTo>
                    <a:pt x="539210" y="291227"/>
                    <a:pt x="619887" y="330946"/>
                    <a:pt x="717042" y="330946"/>
                  </a:cubicBezTo>
                  <a:lnTo>
                    <a:pt x="717042" y="330946"/>
                  </a:lnTo>
                  <a:cubicBezTo>
                    <a:pt x="853250" y="330946"/>
                    <a:pt x="963740" y="220551"/>
                    <a:pt x="963740" y="84249"/>
                  </a:cubicBezTo>
                  <a:lnTo>
                    <a:pt x="963740" y="84249"/>
                  </a:lnTo>
                  <a:cubicBezTo>
                    <a:pt x="963644" y="62627"/>
                    <a:pt x="946690" y="39957"/>
                    <a:pt x="925925" y="33861"/>
                  </a:cubicBezTo>
                  <a:close/>
                </a:path>
              </a:pathLst>
            </a:custGeom>
            <a:solidFill>
              <a:srgbClr val="FFFCF3">
                <a:alpha val="4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378D5090-0BC6-402D-94CD-2A64FDB606E8}"/>
                </a:ext>
              </a:extLst>
            </p:cNvPr>
            <p:cNvSpPr/>
            <p:nvPr/>
          </p:nvSpPr>
          <p:spPr>
            <a:xfrm>
              <a:off x="10513354" y="4143845"/>
              <a:ext cx="161850" cy="903662"/>
            </a:xfrm>
            <a:custGeom>
              <a:avLst/>
              <a:gdLst>
                <a:gd name="connsiteX0" fmla="*/ 123349 w 114300"/>
                <a:gd name="connsiteY0" fmla="*/ 0 h 638175"/>
                <a:gd name="connsiteX1" fmla="*/ 107252 w 114300"/>
                <a:gd name="connsiteY1" fmla="*/ 584549 h 638175"/>
                <a:gd name="connsiteX2" fmla="*/ 0 w 114300"/>
                <a:gd name="connsiteY2" fmla="*/ 645700 h 63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4300" h="638175">
                  <a:moveTo>
                    <a:pt x="123349" y="0"/>
                  </a:moveTo>
                  <a:cubicBezTo>
                    <a:pt x="123349" y="0"/>
                    <a:pt x="116681" y="577882"/>
                    <a:pt x="107252" y="584549"/>
                  </a:cubicBezTo>
                  <a:cubicBezTo>
                    <a:pt x="85820" y="599885"/>
                    <a:pt x="52673" y="622649"/>
                    <a:pt x="0" y="645700"/>
                  </a:cubicBezTo>
                </a:path>
              </a:pathLst>
            </a:custGeom>
            <a:noFill/>
            <a:ln w="12700" cap="flat">
              <a:solidFill>
                <a:srgbClr val="0052AC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2" name="对话气泡: 圆角矩形 1">
            <a:extLst>
              <a:ext uri="{FF2B5EF4-FFF2-40B4-BE49-F238E27FC236}">
                <a16:creationId xmlns:a16="http://schemas.microsoft.com/office/drawing/2014/main" id="{C4EBA2EB-6256-40B2-8259-D68CD1CFFF22}"/>
              </a:ext>
            </a:extLst>
          </p:cNvPr>
          <p:cNvSpPr/>
          <p:nvPr userDrawn="1"/>
        </p:nvSpPr>
        <p:spPr>
          <a:xfrm>
            <a:off x="5166882" y="1992345"/>
            <a:ext cx="5613400" cy="3172940"/>
          </a:xfrm>
          <a:prstGeom prst="wedgeRoundRectCallout">
            <a:avLst>
              <a:gd name="adj1" fmla="val -70155"/>
              <a:gd name="adj2" fmla="val -23956"/>
              <a:gd name="adj3" fmla="val 166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5630457" y="2237913"/>
            <a:ext cx="4775200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630457" y="4544149"/>
            <a:ext cx="47752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30459" y="4247878"/>
            <a:ext cx="47752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17751527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  <a:prstGeom prst="rect">
            <a:avLst/>
          </a:prstGeo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800"/>
            </a:lvl4pPr>
            <a:lvl5pPr marL="1828800" indent="0" algn="ctr">
              <a:buNone/>
              <a:defRPr sz="1800"/>
            </a:lvl5pPr>
            <a:lvl6pPr marL="2286000" indent="0" algn="ctr">
              <a:buNone/>
              <a:defRPr sz="1800"/>
            </a:lvl6pPr>
            <a:lvl7pPr marL="2743200" indent="0" algn="ctr">
              <a:buNone/>
              <a:defRPr sz="1800"/>
            </a:lvl7pPr>
            <a:lvl8pPr marL="3200400" indent="0" algn="ctr">
              <a:buNone/>
              <a:defRPr sz="1800"/>
            </a:lvl8pPr>
            <a:lvl9pPr marL="3657600" indent="0" algn="ctr">
              <a:buNone/>
              <a:defRPr sz="18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24129" y="6470704"/>
            <a:ext cx="2154143" cy="274320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79E7C5D4-E12C-4E2B-B844-C954EDA766A0}" type="datetimeFigureOut">
              <a:rPr lang="zh-CN" altLang="en-US" smtClean="0"/>
              <a:t>2020/2/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42932" y="6470704"/>
            <a:ext cx="5901459" cy="27432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/>
          <a:lstStyle/>
          <a:p>
            <a:fld id="{F19D29A0-8795-40D8-A6B7-A5E28AE86EFA}" type="slidenum">
              <a:rPr lang="zh-CN" altLang="en-US" smtClean="0"/>
              <a:t>‹#›</a:t>
            </a:fld>
            <a:endParaRPr lang="zh-CN" alt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矩形 29">
            <a:extLst>
              <a:ext uri="{FF2B5EF4-FFF2-40B4-BE49-F238E27FC236}">
                <a16:creationId xmlns:a16="http://schemas.microsoft.com/office/drawing/2014/main" id="{A5721790-A66A-4685-BD78-8A286844C18C}"/>
              </a:ext>
            </a:extLst>
          </p:cNvPr>
          <p:cNvSpPr/>
          <p:nvPr userDrawn="1"/>
        </p:nvSpPr>
        <p:spPr>
          <a:xfrm>
            <a:off x="-19729" y="0"/>
            <a:ext cx="12211729" cy="5486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</p:spTree>
    <p:extLst>
      <p:ext uri="{BB962C8B-B14F-4D97-AF65-F5344CB8AC3E}">
        <p14:creationId xmlns:p14="http://schemas.microsoft.com/office/powerpoint/2010/main" val="19072019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24128" y="2286000"/>
            <a:ext cx="9720073" cy="40233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24129" y="6470704"/>
            <a:ext cx="2154143" cy="274320"/>
          </a:xfrm>
          <a:prstGeom prst="rect">
            <a:avLst/>
          </a:prstGeom>
        </p:spPr>
        <p:txBody>
          <a:bodyPr/>
          <a:lstStyle/>
          <a:p>
            <a:fld id="{79E7C5D4-E12C-4E2B-B844-C954EDA766A0}" type="datetimeFigureOut">
              <a:rPr lang="zh-CN" altLang="en-US" smtClean="0"/>
              <a:t>2020/2/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42932" y="6470704"/>
            <a:ext cx="5901459" cy="274320"/>
          </a:xfrm>
          <a:prstGeom prst="rect">
            <a:avLst/>
          </a:prstGeom>
        </p:spPr>
        <p:txBody>
          <a:bodyPr/>
          <a:lstStyle/>
          <a:p>
            <a:endParaRPr lang="zh-CN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/>
          <a:lstStyle/>
          <a:p>
            <a:fld id="{F19D29A0-8795-40D8-A6B7-A5E28AE86EFA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EE035CAD-F595-41CF-B2AC-A61F4F843B9D}"/>
              </a:ext>
            </a:extLst>
          </p:cNvPr>
          <p:cNvSpPr/>
          <p:nvPr userDrawn="1"/>
        </p:nvSpPr>
        <p:spPr>
          <a:xfrm>
            <a:off x="695400" y="764704"/>
            <a:ext cx="144016" cy="10081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993914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01E00A6-80C8-462F-A147-17136AC59CD2}" type="datetimeFigureOut">
              <a:rPr lang="zh-CN" altLang="en-US" smtClean="0"/>
              <a:pPr>
                <a:defRPr/>
              </a:pPr>
              <a:t>2020/2/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000F4AA-FE69-4047-8E2D-D72378481D32}" type="slidenum">
              <a:rPr lang="zh-CN" altLang="en-US" smtClean="0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396206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24128" y="2286000"/>
            <a:ext cx="9720073" cy="40233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24129" y="6470704"/>
            <a:ext cx="2154143" cy="274320"/>
          </a:xfrm>
          <a:prstGeom prst="rect">
            <a:avLst/>
          </a:prstGeom>
        </p:spPr>
        <p:txBody>
          <a:bodyPr/>
          <a:lstStyle/>
          <a:p>
            <a:fld id="{79E7C5D4-E12C-4E2B-B844-C954EDA766A0}" type="datetimeFigureOut">
              <a:rPr lang="zh-CN" altLang="en-US" smtClean="0"/>
              <a:t>2020/2/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42932" y="6470704"/>
            <a:ext cx="5901459" cy="27432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/>
          <a:lstStyle/>
          <a:p>
            <a:fld id="{F19D29A0-8795-40D8-A6B7-A5E28AE86EFA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EE035CAD-F595-41CF-B2AC-A61F4F843B9D}"/>
              </a:ext>
            </a:extLst>
          </p:cNvPr>
          <p:cNvSpPr/>
          <p:nvPr userDrawn="1"/>
        </p:nvSpPr>
        <p:spPr>
          <a:xfrm>
            <a:off x="695400" y="764704"/>
            <a:ext cx="144016" cy="10081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704898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 userDrawn="1"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7"/>
            <a:ext cx="7772400" cy="146304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r">
              <a:defRPr sz="5000" b="0" spc="200" baseline="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10600" y="4960137"/>
            <a:ext cx="3200400" cy="1463040"/>
          </a:xfrm>
          <a:prstGeom prst="rect">
            <a:avLst/>
          </a:prstGeo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24129" y="6470704"/>
            <a:ext cx="2154143" cy="274320"/>
          </a:xfrm>
          <a:prstGeom prst="rect">
            <a:avLst/>
          </a:prstGeom>
        </p:spPr>
        <p:txBody>
          <a:bodyPr/>
          <a:lstStyle/>
          <a:p>
            <a:fld id="{79E7C5D4-E12C-4E2B-B844-C954EDA766A0}" type="datetimeFigureOut">
              <a:rPr lang="zh-CN" altLang="en-US" smtClean="0"/>
              <a:t>2020/2/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42932" y="6470704"/>
            <a:ext cx="5901459" cy="27432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/>
          <a:lstStyle/>
          <a:p>
            <a:fld id="{F19D29A0-8795-40D8-A6B7-A5E28AE86EFA}" type="slidenum">
              <a:rPr lang="zh-CN" altLang="en-US" smtClean="0"/>
              <a:t>‹#›</a:t>
            </a:fld>
            <a:endParaRPr lang="zh-CN" alt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98840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4127" y="2286000"/>
            <a:ext cx="4754880" cy="40233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89320" y="2286000"/>
            <a:ext cx="4754880" cy="40233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024129" y="6470704"/>
            <a:ext cx="2154143" cy="274320"/>
          </a:xfrm>
          <a:prstGeom prst="rect">
            <a:avLst/>
          </a:prstGeom>
        </p:spPr>
        <p:txBody>
          <a:bodyPr/>
          <a:lstStyle/>
          <a:p>
            <a:fld id="{79E7C5D4-E12C-4E2B-B844-C954EDA766A0}" type="datetimeFigureOut">
              <a:rPr lang="zh-CN" altLang="en-US" smtClean="0"/>
              <a:t>2020/2/2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42932" y="6470704"/>
            <a:ext cx="5901459" cy="27432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/>
          <a:lstStyle/>
          <a:p>
            <a:fld id="{F19D29A0-8795-40D8-A6B7-A5E28AE86EF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864140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179636"/>
            <a:ext cx="4754880" cy="822960"/>
          </a:xfrm>
          <a:prstGeom prst="rect">
            <a:avLst/>
          </a:prstGeo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300" b="0" cap="none" baseline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4128" y="2967788"/>
            <a:ext cx="4754880" cy="33415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90888" y="2179636"/>
            <a:ext cx="4754880" cy="822960"/>
          </a:xfrm>
          <a:prstGeom prst="rect">
            <a:avLst/>
          </a:prstGeo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300" b="0" kern="1200" cap="none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None/>
            </a:pPr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90888" y="2967788"/>
            <a:ext cx="4754880" cy="33415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1024129" y="6470704"/>
            <a:ext cx="2154143" cy="274320"/>
          </a:xfrm>
          <a:prstGeom prst="rect">
            <a:avLst/>
          </a:prstGeom>
        </p:spPr>
        <p:txBody>
          <a:bodyPr/>
          <a:lstStyle/>
          <a:p>
            <a:fld id="{79E7C5D4-E12C-4E2B-B844-C954EDA766A0}" type="datetimeFigureOut">
              <a:rPr lang="zh-CN" altLang="en-US" smtClean="0"/>
              <a:t>2020/2/2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842932" y="6470704"/>
            <a:ext cx="5901459" cy="27432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/>
          <a:lstStyle/>
          <a:p>
            <a:fld id="{F19D29A0-8795-40D8-A6B7-A5E28AE86EF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105293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3432" y="692696"/>
            <a:ext cx="9720072" cy="1499616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024129" y="6470704"/>
            <a:ext cx="2154143" cy="274320"/>
          </a:xfrm>
          <a:prstGeom prst="rect">
            <a:avLst/>
          </a:prstGeom>
        </p:spPr>
        <p:txBody>
          <a:bodyPr/>
          <a:lstStyle/>
          <a:p>
            <a:fld id="{79E7C5D4-E12C-4E2B-B844-C954EDA766A0}" type="datetimeFigureOut">
              <a:rPr lang="zh-CN" altLang="en-US" smtClean="0"/>
              <a:t>2020/2/2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842932" y="6470704"/>
            <a:ext cx="5901459" cy="27432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/>
          <a:lstStyle/>
          <a:p>
            <a:fld id="{F19D29A0-8795-40D8-A6B7-A5E28AE86EF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04234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024129" y="6470704"/>
            <a:ext cx="2154143" cy="274320"/>
          </a:xfrm>
          <a:prstGeom prst="rect">
            <a:avLst/>
          </a:prstGeom>
        </p:spPr>
        <p:txBody>
          <a:bodyPr/>
          <a:lstStyle/>
          <a:p>
            <a:fld id="{79E7C5D4-E12C-4E2B-B844-C954EDA766A0}" type="datetimeFigureOut">
              <a:rPr lang="zh-CN" altLang="en-US" smtClean="0"/>
              <a:t>2020/2/2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842932" y="6470704"/>
            <a:ext cx="5901459" cy="27432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/>
          <a:lstStyle/>
          <a:p>
            <a:fld id="{F19D29A0-8795-40D8-A6B7-A5E28AE86EF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892782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24128" y="471509"/>
            <a:ext cx="4389120" cy="173736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80000"/>
              </a:lnSpc>
              <a:defRPr sz="4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0" y="822960"/>
            <a:ext cx="5678424" cy="518464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4128" y="2257506"/>
            <a:ext cx="4389120" cy="3762294"/>
          </a:xfrm>
          <a:prstGeom prst="rect">
            <a:avLst/>
          </a:prstGeo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024129" y="6470704"/>
            <a:ext cx="2154143" cy="274320"/>
          </a:xfrm>
          <a:prstGeom prst="rect">
            <a:avLst/>
          </a:prstGeom>
        </p:spPr>
        <p:txBody>
          <a:bodyPr/>
          <a:lstStyle/>
          <a:p>
            <a:fld id="{79E7C5D4-E12C-4E2B-B844-C954EDA766A0}" type="datetimeFigureOut">
              <a:rPr lang="zh-CN" altLang="en-US" smtClean="0"/>
              <a:t>2020/2/2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42932" y="6470704"/>
            <a:ext cx="5901459" cy="27432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/>
          <a:lstStyle/>
          <a:p>
            <a:fld id="{F19D29A0-8795-40D8-A6B7-A5E28AE86EF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16662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8"/>
            <a:ext cx="7772400" cy="146304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12188952" cy="4572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lIns="457200" tIns="365760" rIns="45720" bIns="4572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10600" y="4960138"/>
            <a:ext cx="3200400" cy="1463040"/>
          </a:xfrm>
          <a:prstGeom prst="rect">
            <a:avLst/>
          </a:prstGeo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024129" y="6470704"/>
            <a:ext cx="2154143" cy="274320"/>
          </a:xfrm>
          <a:prstGeom prst="rect">
            <a:avLst/>
          </a:prstGeom>
        </p:spPr>
        <p:txBody>
          <a:bodyPr/>
          <a:lstStyle/>
          <a:p>
            <a:fld id="{79E7C5D4-E12C-4E2B-B844-C954EDA766A0}" type="datetimeFigureOut">
              <a:rPr lang="zh-CN" altLang="en-US" smtClean="0"/>
              <a:t>2020/2/2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42932" y="6470704"/>
            <a:ext cx="5901459" cy="27432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/>
          <a:lstStyle/>
          <a:p>
            <a:fld id="{F19D29A0-8795-40D8-A6B7-A5E28AE86EFA}" type="slidenum">
              <a:rPr lang="zh-CN" altLang="en-US" smtClean="0"/>
              <a:t>‹#›</a:t>
            </a:fld>
            <a:endParaRPr lang="zh-CN" alt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576403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24128" y="2286000"/>
            <a:ext cx="9720073" cy="402336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24129" y="6470704"/>
            <a:ext cx="2154143" cy="274320"/>
          </a:xfrm>
          <a:prstGeom prst="rect">
            <a:avLst/>
          </a:prstGeom>
        </p:spPr>
        <p:txBody>
          <a:bodyPr/>
          <a:lstStyle/>
          <a:p>
            <a:fld id="{79E7C5D4-E12C-4E2B-B844-C954EDA766A0}" type="datetimeFigureOut">
              <a:rPr lang="zh-CN" altLang="en-US" smtClean="0"/>
              <a:t>2020/2/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42932" y="6470704"/>
            <a:ext cx="5901459" cy="27432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/>
          <a:lstStyle/>
          <a:p>
            <a:fld id="{F19D29A0-8795-40D8-A6B7-A5E28AE86EF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5191905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762000"/>
            <a:ext cx="2628900" cy="5410200"/>
          </a:xfrm>
          <a:prstGeom prst="rect">
            <a:avLst/>
          </a:prstGeom>
        </p:spPr>
        <p:txBody>
          <a:bodyPr vert="eaVert" lIns="45720" tIns="91440" rIns="45720" bIns="91440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1" y="762000"/>
            <a:ext cx="7581900" cy="54102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24129" y="6470704"/>
            <a:ext cx="2154143" cy="274320"/>
          </a:xfrm>
          <a:prstGeom prst="rect">
            <a:avLst/>
          </a:prstGeom>
        </p:spPr>
        <p:txBody>
          <a:bodyPr/>
          <a:lstStyle/>
          <a:p>
            <a:fld id="{79E7C5D4-E12C-4E2B-B844-C954EDA766A0}" type="datetimeFigureOut">
              <a:rPr lang="zh-CN" altLang="en-US" smtClean="0"/>
              <a:t>2020/2/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42932" y="6470704"/>
            <a:ext cx="5901459" cy="27432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/>
          <a:lstStyle/>
          <a:p>
            <a:fld id="{F19D29A0-8795-40D8-A6B7-A5E28AE86EFA}" type="slidenum">
              <a:rPr lang="zh-CN" altLang="en-US" smtClean="0"/>
              <a:t>‹#›</a:t>
            </a:fld>
            <a:endParaRPr lang="zh-CN" altLang="en-US"/>
          </a:p>
        </p:txBody>
      </p:sp>
      <p:cxnSp>
        <p:nvCxnSpPr>
          <p:cNvPr id="7" name="Straight Connector 6"/>
          <p:cNvCxnSpPr/>
          <p:nvPr/>
        </p:nvCxnSpPr>
        <p:spPr>
          <a:xfrm rot="5400000" flipV="1">
            <a:off x="10058400" y="59263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19022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b="0" spc="200" baseline="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8203149-91BF-4C64-AA32-6FBCE210568D}" type="datetimeFigureOut">
              <a:rPr lang="zh-CN" altLang="en-US" smtClean="0"/>
              <a:pPr>
                <a:defRPr/>
              </a:pPr>
              <a:t>2020/2/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9FC8402-85EB-423D-B1A4-4A7B539C9C56}" type="slidenum">
              <a:rPr lang="zh-CN" altLang="en-US" smtClean="0"/>
              <a:pPr>
                <a:defRPr/>
              </a:pPr>
              <a:t>‹#›</a:t>
            </a:fld>
            <a:endParaRPr lang="zh-CN" alt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41538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>
            <a:extLst>
              <a:ext uri="{FF2B5EF4-FFF2-40B4-BE49-F238E27FC236}">
                <a16:creationId xmlns:a16="http://schemas.microsoft.com/office/drawing/2014/main" id="{9AC36A18-CC9D-4918-97C1-AD04DADE6EA3}"/>
              </a:ext>
            </a:extLst>
          </p:cNvPr>
          <p:cNvSpPr>
            <a:spLocks noGrp="1"/>
          </p:cNvSpPr>
          <p:nvPr>
            <p:ph/>
          </p:nvPr>
        </p:nvSpPr>
        <p:spPr>
          <a:xfrm>
            <a:off x="609600" y="274639"/>
            <a:ext cx="109728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0A4EBD81-EC44-4D93-BD96-824726C2783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zh-CN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F0A5A201-9294-4AC1-BC23-B0E35CFF92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zh-CN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2DF193D9-8F78-446C-A2EF-EF4D2D367F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6BB595E-2FD2-4286-8FA1-83178E769C51}" type="slidenum">
              <a:rPr lang="en-US" altLang="zh-CN"/>
              <a:pPr/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1919519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>
  <p:cSld name="标题，文本与剪贴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联机映像占位符 3"/>
          <p:cNvSpPr>
            <a:spLocks noGrp="1"/>
          </p:cNvSpPr>
          <p:nvPr>
            <p:ph type="clipArt"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altLang="zh-CN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zh-CN"/>
              <a:t>襄樊职业技术学院         化学教研室    白斌</a:t>
            </a: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5270984-D93D-402A-BFE1-C999BBEE9341}" type="slidenum">
              <a:rPr lang="en-US" altLang="zh-CN"/>
              <a:pPr/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7008603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末尾幻灯片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组合 6">
            <a:extLst>
              <a:ext uri="{FF2B5EF4-FFF2-40B4-BE49-F238E27FC236}">
                <a16:creationId xmlns:a16="http://schemas.microsoft.com/office/drawing/2014/main" id="{4E06957F-964A-4062-9514-4BEE307AEFB4}"/>
              </a:ext>
            </a:extLst>
          </p:cNvPr>
          <p:cNvGrpSpPr/>
          <p:nvPr userDrawn="1"/>
        </p:nvGrpSpPr>
        <p:grpSpPr>
          <a:xfrm flipH="1">
            <a:off x="1782750" y="1497026"/>
            <a:ext cx="2344749" cy="5360974"/>
            <a:chOff x="8640751" y="893422"/>
            <a:chExt cx="2608750" cy="5964578"/>
          </a:xfrm>
        </p:grpSpPr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AD6A1E69-6465-4D46-A19C-353F71ACDC96}"/>
                </a:ext>
              </a:extLst>
            </p:cNvPr>
            <p:cNvSpPr/>
            <p:nvPr/>
          </p:nvSpPr>
          <p:spPr>
            <a:xfrm>
              <a:off x="8640751" y="2320202"/>
              <a:ext cx="2050099" cy="4531797"/>
            </a:xfrm>
            <a:custGeom>
              <a:avLst/>
              <a:gdLst>
                <a:gd name="connsiteX0" fmla="*/ 848963 w 1447800"/>
                <a:gd name="connsiteY0" fmla="*/ 63151 h 3200400"/>
                <a:gd name="connsiteX1" fmla="*/ 848963 w 1447800"/>
                <a:gd name="connsiteY1" fmla="*/ 422148 h 3200400"/>
                <a:gd name="connsiteX2" fmla="*/ 334709 w 1447800"/>
                <a:gd name="connsiteY2" fmla="*/ 538544 h 3200400"/>
                <a:gd name="connsiteX3" fmla="*/ 0 w 1447800"/>
                <a:gd name="connsiteY3" fmla="*/ 2537174 h 3200400"/>
                <a:gd name="connsiteX4" fmla="*/ 0 w 1447800"/>
                <a:gd name="connsiteY4" fmla="*/ 3206591 h 3200400"/>
                <a:gd name="connsiteX5" fmla="*/ 1450467 w 1447800"/>
                <a:gd name="connsiteY5" fmla="*/ 3206591 h 3200400"/>
                <a:gd name="connsiteX6" fmla="*/ 1440752 w 1447800"/>
                <a:gd name="connsiteY6" fmla="*/ 495681 h 3200400"/>
                <a:gd name="connsiteX7" fmla="*/ 1038130 w 1447800"/>
                <a:gd name="connsiteY7" fmla="*/ 422053 h 3200400"/>
                <a:gd name="connsiteX8" fmla="*/ 1023557 w 1447800"/>
                <a:gd name="connsiteY8" fmla="*/ 0 h 3200400"/>
                <a:gd name="connsiteX9" fmla="*/ 848963 w 1447800"/>
                <a:gd name="connsiteY9" fmla="*/ 63151 h 3200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47800" h="3200400">
                  <a:moveTo>
                    <a:pt x="848963" y="63151"/>
                  </a:moveTo>
                  <a:lnTo>
                    <a:pt x="848963" y="422148"/>
                  </a:lnTo>
                  <a:cubicBezTo>
                    <a:pt x="848963" y="422148"/>
                    <a:pt x="431768" y="427006"/>
                    <a:pt x="334709" y="538544"/>
                  </a:cubicBezTo>
                  <a:cubicBezTo>
                    <a:pt x="237744" y="650177"/>
                    <a:pt x="101918" y="1280827"/>
                    <a:pt x="0" y="2537174"/>
                  </a:cubicBezTo>
                  <a:lnTo>
                    <a:pt x="0" y="3206591"/>
                  </a:lnTo>
                  <a:lnTo>
                    <a:pt x="1450467" y="3206591"/>
                  </a:lnTo>
                  <a:lnTo>
                    <a:pt x="1440752" y="495681"/>
                  </a:lnTo>
                  <a:cubicBezTo>
                    <a:pt x="1440752" y="495681"/>
                    <a:pt x="1416463" y="460819"/>
                    <a:pt x="1038130" y="422053"/>
                  </a:cubicBezTo>
                  <a:lnTo>
                    <a:pt x="1023557" y="0"/>
                  </a:lnTo>
                  <a:lnTo>
                    <a:pt x="848963" y="63151"/>
                  </a:lnTo>
                  <a:close/>
                </a:path>
              </a:pathLst>
            </a:custGeom>
            <a:solidFill>
              <a:srgbClr val="FFA1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3372C6EC-21E0-441B-A8F4-6BA05B819CD4}"/>
                </a:ext>
              </a:extLst>
            </p:cNvPr>
            <p:cNvSpPr/>
            <p:nvPr/>
          </p:nvSpPr>
          <p:spPr>
            <a:xfrm>
              <a:off x="9842891" y="2390740"/>
              <a:ext cx="242775" cy="350675"/>
            </a:xfrm>
            <a:custGeom>
              <a:avLst/>
              <a:gdLst>
                <a:gd name="connsiteX0" fmla="*/ 178975 w 171450"/>
                <a:gd name="connsiteY0" fmla="*/ 127921 h 247650"/>
                <a:gd name="connsiteX1" fmla="*/ 174593 w 171450"/>
                <a:gd name="connsiteY1" fmla="*/ 0 h 247650"/>
                <a:gd name="connsiteX2" fmla="*/ 0 w 171450"/>
                <a:gd name="connsiteY2" fmla="*/ 63056 h 247650"/>
                <a:gd name="connsiteX3" fmla="*/ 0 w 171450"/>
                <a:gd name="connsiteY3" fmla="*/ 252698 h 247650"/>
                <a:gd name="connsiteX4" fmla="*/ 178975 w 171450"/>
                <a:gd name="connsiteY4" fmla="*/ 127921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47650">
                  <a:moveTo>
                    <a:pt x="178975" y="127921"/>
                  </a:moveTo>
                  <a:lnTo>
                    <a:pt x="174593" y="0"/>
                  </a:lnTo>
                  <a:lnTo>
                    <a:pt x="0" y="63056"/>
                  </a:lnTo>
                  <a:lnTo>
                    <a:pt x="0" y="252698"/>
                  </a:lnTo>
                  <a:cubicBezTo>
                    <a:pt x="72771" y="235172"/>
                    <a:pt x="134207" y="188214"/>
                    <a:pt x="178975" y="127921"/>
                  </a:cubicBezTo>
                  <a:close/>
                </a:path>
              </a:pathLst>
            </a:custGeom>
            <a:solidFill>
              <a:srgbClr val="F28B8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CBBE7E6C-19F8-4204-8132-B06C68790AB3}"/>
                </a:ext>
              </a:extLst>
            </p:cNvPr>
            <p:cNvSpPr/>
            <p:nvPr/>
          </p:nvSpPr>
          <p:spPr>
            <a:xfrm>
              <a:off x="8705491" y="2754094"/>
              <a:ext cx="1982661" cy="2454723"/>
            </a:xfrm>
            <a:custGeom>
              <a:avLst/>
              <a:gdLst>
                <a:gd name="connsiteX0" fmla="*/ 1395032 w 1400175"/>
                <a:gd name="connsiteY0" fmla="*/ 189357 h 1733550"/>
                <a:gd name="connsiteX1" fmla="*/ 992410 w 1400175"/>
                <a:gd name="connsiteY1" fmla="*/ 115729 h 1733550"/>
                <a:gd name="connsiteX2" fmla="*/ 988409 w 1400175"/>
                <a:gd name="connsiteY2" fmla="*/ 0 h 1733550"/>
                <a:gd name="connsiteX3" fmla="*/ 898017 w 1400175"/>
                <a:gd name="connsiteY3" fmla="*/ 96107 h 1733550"/>
                <a:gd name="connsiteX4" fmla="*/ 803243 w 1400175"/>
                <a:gd name="connsiteY4" fmla="*/ 0 h 1733550"/>
                <a:gd name="connsiteX5" fmla="*/ 803243 w 1400175"/>
                <a:gd name="connsiteY5" fmla="*/ 115729 h 1733550"/>
                <a:gd name="connsiteX6" fmla="*/ 288989 w 1400175"/>
                <a:gd name="connsiteY6" fmla="*/ 232124 h 1733550"/>
                <a:gd name="connsiteX7" fmla="*/ 0 w 1400175"/>
                <a:gd name="connsiteY7" fmla="*/ 1728216 h 1733550"/>
                <a:gd name="connsiteX8" fmla="*/ 1400556 w 1400175"/>
                <a:gd name="connsiteY8" fmla="*/ 1737360 h 1733550"/>
                <a:gd name="connsiteX9" fmla="*/ 1395032 w 1400175"/>
                <a:gd name="connsiteY9" fmla="*/ 189357 h 1733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00175" h="1733550">
                  <a:moveTo>
                    <a:pt x="1395032" y="189357"/>
                  </a:moveTo>
                  <a:cubicBezTo>
                    <a:pt x="1395032" y="189357"/>
                    <a:pt x="1370743" y="154495"/>
                    <a:pt x="992410" y="115729"/>
                  </a:cubicBezTo>
                  <a:lnTo>
                    <a:pt x="988409" y="0"/>
                  </a:lnTo>
                  <a:cubicBezTo>
                    <a:pt x="941737" y="15526"/>
                    <a:pt x="903732" y="44482"/>
                    <a:pt x="898017" y="96107"/>
                  </a:cubicBezTo>
                  <a:cubicBezTo>
                    <a:pt x="881348" y="54388"/>
                    <a:pt x="844106" y="667"/>
                    <a:pt x="803243" y="0"/>
                  </a:cubicBezTo>
                  <a:lnTo>
                    <a:pt x="803243" y="115729"/>
                  </a:lnTo>
                  <a:cubicBezTo>
                    <a:pt x="803243" y="115729"/>
                    <a:pt x="386048" y="120586"/>
                    <a:pt x="288989" y="232124"/>
                  </a:cubicBezTo>
                  <a:cubicBezTo>
                    <a:pt x="205931" y="327755"/>
                    <a:pt x="94298" y="804101"/>
                    <a:pt x="0" y="1728216"/>
                  </a:cubicBezTo>
                  <a:cubicBezTo>
                    <a:pt x="466058" y="1721549"/>
                    <a:pt x="933641" y="1738312"/>
                    <a:pt x="1400556" y="1737360"/>
                  </a:cubicBezTo>
                  <a:lnTo>
                    <a:pt x="1395032" y="189357"/>
                  </a:lnTo>
                  <a:close/>
                </a:path>
              </a:pathLst>
            </a:custGeom>
            <a:solidFill>
              <a:srgbClr val="0062C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F429B54D-39B9-427E-91DA-4915F76A90E1}"/>
                </a:ext>
              </a:extLst>
            </p:cNvPr>
            <p:cNvSpPr/>
            <p:nvPr/>
          </p:nvSpPr>
          <p:spPr>
            <a:xfrm>
              <a:off x="9980463" y="2914460"/>
              <a:ext cx="13487" cy="2279386"/>
            </a:xfrm>
            <a:custGeom>
              <a:avLst/>
              <a:gdLst>
                <a:gd name="connsiteX0" fmla="*/ 0 w 0"/>
                <a:gd name="connsiteY0" fmla="*/ 0 h 1609725"/>
                <a:gd name="connsiteX1" fmla="*/ 0 w 0"/>
                <a:gd name="connsiteY1" fmla="*/ 1615535 h 1609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609725">
                  <a:moveTo>
                    <a:pt x="0" y="0"/>
                  </a:moveTo>
                  <a:lnTo>
                    <a:pt x="0" y="1615535"/>
                  </a:lnTo>
                </a:path>
              </a:pathLst>
            </a:custGeom>
            <a:ln w="254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5BF38803-9A60-4C5A-8866-26268BC6D733}"/>
                </a:ext>
              </a:extLst>
            </p:cNvPr>
            <p:cNvSpPr/>
            <p:nvPr/>
          </p:nvSpPr>
          <p:spPr>
            <a:xfrm>
              <a:off x="8640751" y="5199039"/>
              <a:ext cx="2050099" cy="1658961"/>
            </a:xfrm>
            <a:custGeom>
              <a:avLst/>
              <a:gdLst>
                <a:gd name="connsiteX0" fmla="*/ 45720 w 1447800"/>
                <a:gd name="connsiteY0" fmla="*/ 1572 h 1171575"/>
                <a:gd name="connsiteX1" fmla="*/ 0 w 1447800"/>
                <a:gd name="connsiteY1" fmla="*/ 504111 h 1171575"/>
                <a:gd name="connsiteX2" fmla="*/ 0 w 1447800"/>
                <a:gd name="connsiteY2" fmla="*/ 1173528 h 1171575"/>
                <a:gd name="connsiteX3" fmla="*/ 1450467 w 1447800"/>
                <a:gd name="connsiteY3" fmla="*/ 1173528 h 1171575"/>
                <a:gd name="connsiteX4" fmla="*/ 1446276 w 1447800"/>
                <a:gd name="connsiteY4" fmla="*/ 10715 h 1171575"/>
                <a:gd name="connsiteX5" fmla="*/ 45720 w 1447800"/>
                <a:gd name="connsiteY5" fmla="*/ 1572 h 1171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47800" h="1171575">
                  <a:moveTo>
                    <a:pt x="45720" y="1572"/>
                  </a:moveTo>
                  <a:cubicBezTo>
                    <a:pt x="29909" y="156448"/>
                    <a:pt x="14573" y="323802"/>
                    <a:pt x="0" y="504111"/>
                  </a:cubicBezTo>
                  <a:lnTo>
                    <a:pt x="0" y="1173528"/>
                  </a:lnTo>
                  <a:lnTo>
                    <a:pt x="1450467" y="1173528"/>
                  </a:lnTo>
                  <a:lnTo>
                    <a:pt x="1446276" y="10715"/>
                  </a:lnTo>
                  <a:cubicBezTo>
                    <a:pt x="979361" y="11668"/>
                    <a:pt x="511778" y="-5096"/>
                    <a:pt x="45720" y="1572"/>
                  </a:cubicBezTo>
                  <a:close/>
                </a:path>
              </a:pathLst>
            </a:custGeom>
            <a:solidFill>
              <a:srgbClr val="FBC7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B3B302A5-9DB4-4B75-B17C-B264F4A04CE4}"/>
                </a:ext>
              </a:extLst>
            </p:cNvPr>
            <p:cNvSpPr/>
            <p:nvPr/>
          </p:nvSpPr>
          <p:spPr>
            <a:xfrm>
              <a:off x="8640751" y="2917023"/>
              <a:ext cx="1200387" cy="3938348"/>
            </a:xfrm>
            <a:custGeom>
              <a:avLst/>
              <a:gdLst>
                <a:gd name="connsiteX0" fmla="*/ 334709 w 847725"/>
                <a:gd name="connsiteY0" fmla="*/ 117062 h 2781300"/>
                <a:gd name="connsiteX1" fmla="*/ 0 w 847725"/>
                <a:gd name="connsiteY1" fmla="*/ 2115693 h 2781300"/>
                <a:gd name="connsiteX2" fmla="*/ 0 w 847725"/>
                <a:gd name="connsiteY2" fmla="*/ 2785110 h 2781300"/>
                <a:gd name="connsiteX3" fmla="*/ 586264 w 847725"/>
                <a:gd name="connsiteY3" fmla="*/ 2785110 h 2781300"/>
                <a:gd name="connsiteX4" fmla="*/ 844106 w 847725"/>
                <a:gd name="connsiteY4" fmla="*/ 2527268 h 2781300"/>
                <a:gd name="connsiteX5" fmla="*/ 848297 w 847725"/>
                <a:gd name="connsiteY5" fmla="*/ 0 h 2781300"/>
                <a:gd name="connsiteX6" fmla="*/ 334709 w 847725"/>
                <a:gd name="connsiteY6" fmla="*/ 117062 h 2781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47725" h="2781300">
                  <a:moveTo>
                    <a:pt x="334709" y="117062"/>
                  </a:moveTo>
                  <a:cubicBezTo>
                    <a:pt x="237744" y="228695"/>
                    <a:pt x="101918" y="859346"/>
                    <a:pt x="0" y="2115693"/>
                  </a:cubicBezTo>
                  <a:lnTo>
                    <a:pt x="0" y="2785110"/>
                  </a:lnTo>
                  <a:lnTo>
                    <a:pt x="586264" y="2785110"/>
                  </a:lnTo>
                  <a:cubicBezTo>
                    <a:pt x="728663" y="2785110"/>
                    <a:pt x="844106" y="2669667"/>
                    <a:pt x="844106" y="2527268"/>
                  </a:cubicBezTo>
                  <a:lnTo>
                    <a:pt x="848297" y="0"/>
                  </a:lnTo>
                  <a:cubicBezTo>
                    <a:pt x="802005" y="953"/>
                    <a:pt x="425672" y="12573"/>
                    <a:pt x="334709" y="117062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450C2C44-AB10-4E67-A8C5-11A08BAB4A5A}"/>
                </a:ext>
              </a:extLst>
            </p:cNvPr>
            <p:cNvSpPr/>
            <p:nvPr/>
          </p:nvSpPr>
          <p:spPr>
            <a:xfrm>
              <a:off x="10105763" y="2917967"/>
              <a:ext cx="579962" cy="3938348"/>
            </a:xfrm>
            <a:custGeom>
              <a:avLst/>
              <a:gdLst>
                <a:gd name="connsiteX0" fmla="*/ 415861 w 409575"/>
                <a:gd name="connsiteY0" fmla="*/ 2784539 h 2781300"/>
                <a:gd name="connsiteX1" fmla="*/ 406146 w 409575"/>
                <a:gd name="connsiteY1" fmla="*/ 73628 h 2781300"/>
                <a:gd name="connsiteX2" fmla="*/ 3524 w 409575"/>
                <a:gd name="connsiteY2" fmla="*/ 0 h 2781300"/>
                <a:gd name="connsiteX3" fmla="*/ 0 w 409575"/>
                <a:gd name="connsiteY3" fmla="*/ 2469928 h 2781300"/>
                <a:gd name="connsiteX4" fmla="*/ 314611 w 409575"/>
                <a:gd name="connsiteY4" fmla="*/ 2784539 h 2781300"/>
                <a:gd name="connsiteX5" fmla="*/ 415861 w 409575"/>
                <a:gd name="connsiteY5" fmla="*/ 2784539 h 2781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9575" h="2781300">
                  <a:moveTo>
                    <a:pt x="415861" y="2784539"/>
                  </a:moveTo>
                  <a:lnTo>
                    <a:pt x="406146" y="73628"/>
                  </a:lnTo>
                  <a:cubicBezTo>
                    <a:pt x="406146" y="73628"/>
                    <a:pt x="381857" y="38767"/>
                    <a:pt x="3524" y="0"/>
                  </a:cubicBezTo>
                  <a:lnTo>
                    <a:pt x="0" y="2469928"/>
                  </a:lnTo>
                  <a:cubicBezTo>
                    <a:pt x="0" y="2643664"/>
                    <a:pt x="140875" y="2784539"/>
                    <a:pt x="314611" y="2784539"/>
                  </a:cubicBezTo>
                  <a:lnTo>
                    <a:pt x="415861" y="278453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5CC79DF9-CE2D-4A26-8C40-D17D20301E1F}"/>
                </a:ext>
              </a:extLst>
            </p:cNvPr>
            <p:cNvSpPr/>
            <p:nvPr/>
          </p:nvSpPr>
          <p:spPr>
            <a:xfrm>
              <a:off x="9262389" y="4263209"/>
              <a:ext cx="13487" cy="2589598"/>
            </a:xfrm>
            <a:custGeom>
              <a:avLst/>
              <a:gdLst>
                <a:gd name="connsiteX0" fmla="*/ 0 w 0"/>
                <a:gd name="connsiteY0" fmla="*/ 0 h 1828800"/>
                <a:gd name="connsiteX1" fmla="*/ 0 w 0"/>
                <a:gd name="connsiteY1" fmla="*/ 1837658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828800">
                  <a:moveTo>
                    <a:pt x="0" y="0"/>
                  </a:moveTo>
                  <a:lnTo>
                    <a:pt x="0" y="1837658"/>
                  </a:lnTo>
                </a:path>
              </a:pathLst>
            </a:custGeom>
            <a:ln w="12700" cap="flat">
              <a:solidFill>
                <a:srgbClr val="0052AC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48D27E41-2138-4829-BF40-CEAA50B8E9C0}"/>
                </a:ext>
              </a:extLst>
            </p:cNvPr>
            <p:cNvSpPr/>
            <p:nvPr/>
          </p:nvSpPr>
          <p:spPr>
            <a:xfrm>
              <a:off x="9406638" y="2856733"/>
              <a:ext cx="431600" cy="1658961"/>
            </a:xfrm>
            <a:custGeom>
              <a:avLst/>
              <a:gdLst>
                <a:gd name="connsiteX0" fmla="*/ 306658 w 304800"/>
                <a:gd name="connsiteY0" fmla="*/ 0 h 1171575"/>
                <a:gd name="connsiteX1" fmla="*/ 48435 w 304800"/>
                <a:gd name="connsiteY1" fmla="*/ 148590 h 1171575"/>
                <a:gd name="connsiteX2" fmla="*/ 7191 w 304800"/>
                <a:gd name="connsiteY2" fmla="*/ 295370 h 1171575"/>
                <a:gd name="connsiteX3" fmla="*/ 306658 w 304800"/>
                <a:gd name="connsiteY3" fmla="*/ 1175575 h 1171575"/>
                <a:gd name="connsiteX4" fmla="*/ 306658 w 304800"/>
                <a:gd name="connsiteY4" fmla="*/ 0 h 1171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800" h="1171575">
                  <a:moveTo>
                    <a:pt x="306658" y="0"/>
                  </a:moveTo>
                  <a:cubicBezTo>
                    <a:pt x="306658" y="0"/>
                    <a:pt x="194739" y="28003"/>
                    <a:pt x="48435" y="148590"/>
                  </a:cubicBezTo>
                  <a:cubicBezTo>
                    <a:pt x="5477" y="184023"/>
                    <a:pt x="-10716" y="242602"/>
                    <a:pt x="7191" y="295370"/>
                  </a:cubicBezTo>
                  <a:lnTo>
                    <a:pt x="306658" y="1175575"/>
                  </a:lnTo>
                  <a:lnTo>
                    <a:pt x="306658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2D93229F-2193-4E4A-832D-4766A992AE43}"/>
                </a:ext>
              </a:extLst>
            </p:cNvPr>
            <p:cNvSpPr/>
            <p:nvPr/>
          </p:nvSpPr>
          <p:spPr>
            <a:xfrm>
              <a:off x="10110483" y="2856733"/>
              <a:ext cx="431600" cy="1658961"/>
            </a:xfrm>
            <a:custGeom>
              <a:avLst/>
              <a:gdLst>
                <a:gd name="connsiteX0" fmla="*/ 0 w 304800"/>
                <a:gd name="connsiteY0" fmla="*/ 0 h 1171575"/>
                <a:gd name="connsiteX1" fmla="*/ 258223 w 304800"/>
                <a:gd name="connsiteY1" fmla="*/ 148590 h 1171575"/>
                <a:gd name="connsiteX2" fmla="*/ 299466 w 304800"/>
                <a:gd name="connsiteY2" fmla="*/ 295370 h 1171575"/>
                <a:gd name="connsiteX3" fmla="*/ 0 w 304800"/>
                <a:gd name="connsiteY3" fmla="*/ 1175575 h 1171575"/>
                <a:gd name="connsiteX4" fmla="*/ 0 w 304800"/>
                <a:gd name="connsiteY4" fmla="*/ 0 h 1171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4800" h="1171575">
                  <a:moveTo>
                    <a:pt x="0" y="0"/>
                  </a:moveTo>
                  <a:cubicBezTo>
                    <a:pt x="0" y="0"/>
                    <a:pt x="111919" y="28003"/>
                    <a:pt x="258223" y="148590"/>
                  </a:cubicBezTo>
                  <a:cubicBezTo>
                    <a:pt x="301180" y="184023"/>
                    <a:pt x="317373" y="242602"/>
                    <a:pt x="299466" y="295370"/>
                  </a:cubicBezTo>
                  <a:lnTo>
                    <a:pt x="0" y="11755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C23BB5E3-C55A-40F7-96E1-DC76EE18CBD5}"/>
                </a:ext>
              </a:extLst>
            </p:cNvPr>
            <p:cNvSpPr/>
            <p:nvPr/>
          </p:nvSpPr>
          <p:spPr>
            <a:xfrm>
              <a:off x="9452450" y="4339436"/>
              <a:ext cx="1105974" cy="1497112"/>
            </a:xfrm>
            <a:custGeom>
              <a:avLst/>
              <a:gdLst>
                <a:gd name="connsiteX0" fmla="*/ 721598 w 781050"/>
                <a:gd name="connsiteY0" fmla="*/ 998585 h 1057275"/>
                <a:gd name="connsiteX1" fmla="*/ 177054 w 781050"/>
                <a:gd name="connsiteY1" fmla="*/ 1058402 h 1057275"/>
                <a:gd name="connsiteX2" fmla="*/ 93520 w 781050"/>
                <a:gd name="connsiteY2" fmla="*/ 991441 h 1057275"/>
                <a:gd name="connsiteX3" fmla="*/ 460 w 781050"/>
                <a:gd name="connsiteY3" fmla="*/ 143812 h 1057275"/>
                <a:gd name="connsiteX4" fmla="*/ 67421 w 781050"/>
                <a:gd name="connsiteY4" fmla="*/ 60277 h 1057275"/>
                <a:gd name="connsiteX5" fmla="*/ 611965 w 781050"/>
                <a:gd name="connsiteY5" fmla="*/ 460 h 1057275"/>
                <a:gd name="connsiteX6" fmla="*/ 695500 w 781050"/>
                <a:gd name="connsiteY6" fmla="*/ 67421 h 1057275"/>
                <a:gd name="connsiteX7" fmla="*/ 788559 w 781050"/>
                <a:gd name="connsiteY7" fmla="*/ 915051 h 1057275"/>
                <a:gd name="connsiteX8" fmla="*/ 721598 w 781050"/>
                <a:gd name="connsiteY8" fmla="*/ 998585 h 1057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1050" h="1057275">
                  <a:moveTo>
                    <a:pt x="721598" y="998585"/>
                  </a:moveTo>
                  <a:lnTo>
                    <a:pt x="177054" y="1058402"/>
                  </a:lnTo>
                  <a:cubicBezTo>
                    <a:pt x="135525" y="1062974"/>
                    <a:pt x="98092" y="1032970"/>
                    <a:pt x="93520" y="991441"/>
                  </a:cubicBezTo>
                  <a:lnTo>
                    <a:pt x="460" y="143812"/>
                  </a:lnTo>
                  <a:cubicBezTo>
                    <a:pt x="-4112" y="102282"/>
                    <a:pt x="25892" y="64849"/>
                    <a:pt x="67421" y="60277"/>
                  </a:cubicBezTo>
                  <a:lnTo>
                    <a:pt x="611965" y="460"/>
                  </a:lnTo>
                  <a:cubicBezTo>
                    <a:pt x="653494" y="-4112"/>
                    <a:pt x="690928" y="25892"/>
                    <a:pt x="695500" y="67421"/>
                  </a:cubicBezTo>
                  <a:lnTo>
                    <a:pt x="788559" y="915051"/>
                  </a:lnTo>
                  <a:cubicBezTo>
                    <a:pt x="793131" y="956580"/>
                    <a:pt x="763127" y="994013"/>
                    <a:pt x="721598" y="998585"/>
                  </a:cubicBezTo>
                  <a:close/>
                </a:path>
              </a:pathLst>
            </a:custGeom>
            <a:solidFill>
              <a:srgbClr val="2D406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E2F16B29-E720-460E-B837-386B850CA1C6}"/>
                </a:ext>
              </a:extLst>
            </p:cNvPr>
            <p:cNvSpPr/>
            <p:nvPr/>
          </p:nvSpPr>
          <p:spPr>
            <a:xfrm>
              <a:off x="9660986" y="4275254"/>
              <a:ext cx="539500" cy="161850"/>
            </a:xfrm>
            <a:custGeom>
              <a:avLst/>
              <a:gdLst>
                <a:gd name="connsiteX0" fmla="*/ 387067 w 381000"/>
                <a:gd name="connsiteY0" fmla="*/ 78838 h 114300"/>
                <a:gd name="connsiteX1" fmla="*/ 3210 w 381000"/>
                <a:gd name="connsiteY1" fmla="*/ 120939 h 114300"/>
                <a:gd name="connsiteX2" fmla="*/ 352 w 381000"/>
                <a:gd name="connsiteY2" fmla="*/ 94649 h 114300"/>
                <a:gd name="connsiteX3" fmla="*/ 52549 w 381000"/>
                <a:gd name="connsiteY3" fmla="*/ 29594 h 114300"/>
                <a:gd name="connsiteX4" fmla="*/ 319249 w 381000"/>
                <a:gd name="connsiteY4" fmla="*/ 352 h 114300"/>
                <a:gd name="connsiteX5" fmla="*/ 384305 w 381000"/>
                <a:gd name="connsiteY5" fmla="*/ 52549 h 114300"/>
                <a:gd name="connsiteX6" fmla="*/ 387067 w 381000"/>
                <a:gd name="connsiteY6" fmla="*/ 78838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1000" h="114300">
                  <a:moveTo>
                    <a:pt x="387067" y="78838"/>
                  </a:moveTo>
                  <a:lnTo>
                    <a:pt x="3210" y="120939"/>
                  </a:lnTo>
                  <a:lnTo>
                    <a:pt x="352" y="94649"/>
                  </a:lnTo>
                  <a:cubicBezTo>
                    <a:pt x="-3172" y="62264"/>
                    <a:pt x="20164" y="33213"/>
                    <a:pt x="52549" y="29594"/>
                  </a:cubicBezTo>
                  <a:lnTo>
                    <a:pt x="319249" y="352"/>
                  </a:lnTo>
                  <a:cubicBezTo>
                    <a:pt x="351634" y="-3172"/>
                    <a:pt x="380685" y="20164"/>
                    <a:pt x="384305" y="52549"/>
                  </a:cubicBezTo>
                  <a:lnTo>
                    <a:pt x="387067" y="78838"/>
                  </a:lnTo>
                  <a:close/>
                </a:path>
              </a:pathLst>
            </a:custGeom>
            <a:solidFill>
              <a:srgbClr val="08B68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14F3FFE2-19B7-4F67-AFA4-4B4DFC18DBC6}"/>
                </a:ext>
              </a:extLst>
            </p:cNvPr>
            <p:cNvSpPr/>
            <p:nvPr/>
          </p:nvSpPr>
          <p:spPr>
            <a:xfrm>
              <a:off x="9374370" y="5122767"/>
              <a:ext cx="269750" cy="526012"/>
            </a:xfrm>
            <a:custGeom>
              <a:avLst/>
              <a:gdLst>
                <a:gd name="connsiteX0" fmla="*/ 175236 w 190500"/>
                <a:gd name="connsiteY0" fmla="*/ 375190 h 371475"/>
                <a:gd name="connsiteX1" fmla="*/ 29027 w 190500"/>
                <a:gd name="connsiteY1" fmla="*/ 288512 h 371475"/>
                <a:gd name="connsiteX2" fmla="*/ 18264 w 190500"/>
                <a:gd name="connsiteY2" fmla="*/ 259652 h 371475"/>
                <a:gd name="connsiteX3" fmla="*/ 9024 w 190500"/>
                <a:gd name="connsiteY3" fmla="*/ 48959 h 371475"/>
                <a:gd name="connsiteX4" fmla="*/ 61507 w 190500"/>
                <a:gd name="connsiteY4" fmla="*/ 0 h 371475"/>
                <a:gd name="connsiteX5" fmla="*/ 104560 w 190500"/>
                <a:gd name="connsiteY5" fmla="*/ 39529 h 371475"/>
                <a:gd name="connsiteX6" fmla="*/ 182094 w 190500"/>
                <a:gd name="connsiteY6" fmla="*/ 89821 h 371475"/>
                <a:gd name="connsiteX7" fmla="*/ 191714 w 190500"/>
                <a:gd name="connsiteY7" fmla="*/ 371666 h 371475"/>
                <a:gd name="connsiteX8" fmla="*/ 175236 w 190500"/>
                <a:gd name="connsiteY8" fmla="*/ 375190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0500" h="371475">
                  <a:moveTo>
                    <a:pt x="175236" y="375190"/>
                  </a:moveTo>
                  <a:cubicBezTo>
                    <a:pt x="119038" y="340805"/>
                    <a:pt x="72270" y="338233"/>
                    <a:pt x="29027" y="288512"/>
                  </a:cubicBezTo>
                  <a:cubicBezTo>
                    <a:pt x="22264" y="280702"/>
                    <a:pt x="20264" y="269748"/>
                    <a:pt x="18264" y="259652"/>
                  </a:cubicBezTo>
                  <a:cubicBezTo>
                    <a:pt x="4262" y="190119"/>
                    <a:pt x="-9645" y="117443"/>
                    <a:pt x="9024" y="48959"/>
                  </a:cubicBezTo>
                  <a:cubicBezTo>
                    <a:pt x="15216" y="26289"/>
                    <a:pt x="38266" y="3905"/>
                    <a:pt x="61507" y="0"/>
                  </a:cubicBezTo>
                  <a:cubicBezTo>
                    <a:pt x="75890" y="12192"/>
                    <a:pt x="94368" y="23717"/>
                    <a:pt x="104560" y="39529"/>
                  </a:cubicBezTo>
                  <a:cubicBezTo>
                    <a:pt x="104941" y="44101"/>
                    <a:pt x="184761" y="95250"/>
                    <a:pt x="182094" y="89821"/>
                  </a:cubicBezTo>
                  <a:cubicBezTo>
                    <a:pt x="176188" y="78200"/>
                    <a:pt x="190761" y="263462"/>
                    <a:pt x="191714" y="371666"/>
                  </a:cubicBezTo>
                  <a:cubicBezTo>
                    <a:pt x="185523" y="372428"/>
                    <a:pt x="181427" y="374333"/>
                    <a:pt x="175236" y="375190"/>
                  </a:cubicBezTo>
                  <a:close/>
                </a:path>
              </a:pathLst>
            </a:custGeom>
            <a:solidFill>
              <a:srgbClr val="FFA1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B4F9B6A7-CE62-490C-B9B6-EBCB42AC47AD}"/>
                </a:ext>
              </a:extLst>
            </p:cNvPr>
            <p:cNvSpPr/>
            <p:nvPr/>
          </p:nvSpPr>
          <p:spPr>
            <a:xfrm>
              <a:off x="9469152" y="2984055"/>
              <a:ext cx="1780349" cy="2832373"/>
            </a:xfrm>
            <a:custGeom>
              <a:avLst/>
              <a:gdLst>
                <a:gd name="connsiteX0" fmla="*/ 54578 w 1257300"/>
                <a:gd name="connsiteY0" fmla="*/ 1544955 h 2000250"/>
                <a:gd name="connsiteX1" fmla="*/ 0 w 1257300"/>
                <a:gd name="connsiteY1" fmla="*/ 1898237 h 2000250"/>
                <a:gd name="connsiteX2" fmla="*/ 1243013 w 1257300"/>
                <a:gd name="connsiteY2" fmla="*/ 1747266 h 2000250"/>
                <a:gd name="connsiteX3" fmla="*/ 989267 w 1257300"/>
                <a:gd name="connsiteY3" fmla="*/ 138113 h 2000250"/>
                <a:gd name="connsiteX4" fmla="*/ 754761 w 1257300"/>
                <a:gd name="connsiteY4" fmla="*/ 0 h 2000250"/>
                <a:gd name="connsiteX5" fmla="*/ 860774 w 1257300"/>
                <a:gd name="connsiteY5" fmla="*/ 819055 h 2000250"/>
                <a:gd name="connsiteX6" fmla="*/ 844677 w 1257300"/>
                <a:gd name="connsiteY6" fmla="*/ 1403604 h 2000250"/>
                <a:gd name="connsiteX7" fmla="*/ 54578 w 1257300"/>
                <a:gd name="connsiteY7" fmla="*/ 1544955 h 2000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7300" h="2000250">
                  <a:moveTo>
                    <a:pt x="54578" y="1544955"/>
                  </a:moveTo>
                  <a:lnTo>
                    <a:pt x="0" y="1898237"/>
                  </a:lnTo>
                  <a:cubicBezTo>
                    <a:pt x="0" y="1898237"/>
                    <a:pt x="635984" y="2213039"/>
                    <a:pt x="1243013" y="1747266"/>
                  </a:cubicBezTo>
                  <a:cubicBezTo>
                    <a:pt x="1349502" y="1665637"/>
                    <a:pt x="1025271" y="210026"/>
                    <a:pt x="989267" y="138113"/>
                  </a:cubicBezTo>
                  <a:cubicBezTo>
                    <a:pt x="944309" y="48197"/>
                    <a:pt x="828675" y="3239"/>
                    <a:pt x="754761" y="0"/>
                  </a:cubicBezTo>
                  <a:lnTo>
                    <a:pt x="860774" y="819055"/>
                  </a:lnTo>
                  <a:cubicBezTo>
                    <a:pt x="860774" y="819055"/>
                    <a:pt x="854107" y="1396937"/>
                    <a:pt x="844677" y="1403604"/>
                  </a:cubicBezTo>
                  <a:cubicBezTo>
                    <a:pt x="777240" y="1451801"/>
                    <a:pt x="594170" y="1573816"/>
                    <a:pt x="54578" y="1544955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02B76BB0-96A5-4926-BF01-562EFF10E562}"/>
                </a:ext>
              </a:extLst>
            </p:cNvPr>
            <p:cNvSpPr/>
            <p:nvPr/>
          </p:nvSpPr>
          <p:spPr>
            <a:xfrm>
              <a:off x="9282866" y="893422"/>
              <a:ext cx="1402699" cy="1766861"/>
            </a:xfrm>
            <a:custGeom>
              <a:avLst/>
              <a:gdLst>
                <a:gd name="connsiteX0" fmla="*/ 940992 w 990600"/>
                <a:gd name="connsiteY0" fmla="*/ 917118 h 1247775"/>
                <a:gd name="connsiteX1" fmla="*/ 816024 w 990600"/>
                <a:gd name="connsiteY1" fmla="*/ 851491 h 1247775"/>
                <a:gd name="connsiteX2" fmla="*/ 854981 w 990600"/>
                <a:gd name="connsiteY2" fmla="*/ 275990 h 1247775"/>
                <a:gd name="connsiteX3" fmla="*/ 804308 w 990600"/>
                <a:gd name="connsiteY3" fmla="*/ 207315 h 1247775"/>
                <a:gd name="connsiteX4" fmla="*/ 730966 w 990600"/>
                <a:gd name="connsiteY4" fmla="*/ 166358 h 1247775"/>
                <a:gd name="connsiteX5" fmla="*/ 481316 w 990600"/>
                <a:gd name="connsiteY5" fmla="*/ 10814 h 1247775"/>
                <a:gd name="connsiteX6" fmla="*/ 420070 w 990600"/>
                <a:gd name="connsiteY6" fmla="*/ 337 h 1247775"/>
                <a:gd name="connsiteX7" fmla="*/ 246620 w 990600"/>
                <a:gd name="connsiteY7" fmla="*/ 23387 h 1247775"/>
                <a:gd name="connsiteX8" fmla="*/ 120604 w 990600"/>
                <a:gd name="connsiteY8" fmla="*/ 83966 h 1247775"/>
                <a:gd name="connsiteX9" fmla="*/ 54881 w 990600"/>
                <a:gd name="connsiteY9" fmla="*/ 192456 h 1247775"/>
                <a:gd name="connsiteX10" fmla="*/ 17 w 990600"/>
                <a:gd name="connsiteY10" fmla="*/ 477349 h 1247775"/>
                <a:gd name="connsiteX11" fmla="*/ 74693 w 990600"/>
                <a:gd name="connsiteY11" fmla="*/ 883685 h 1247775"/>
                <a:gd name="connsiteX12" fmla="*/ 205281 w 990600"/>
                <a:gd name="connsiteY12" fmla="*/ 1096950 h 1247775"/>
                <a:gd name="connsiteX13" fmla="*/ 601807 w 990600"/>
                <a:gd name="connsiteY13" fmla="*/ 1110761 h 1247775"/>
                <a:gd name="connsiteX14" fmla="*/ 678864 w 990600"/>
                <a:gd name="connsiteY14" fmla="*/ 1220394 h 1247775"/>
                <a:gd name="connsiteX15" fmla="*/ 837455 w 990600"/>
                <a:gd name="connsiteY15" fmla="*/ 1244302 h 1247775"/>
                <a:gd name="connsiteX16" fmla="*/ 940992 w 990600"/>
                <a:gd name="connsiteY16" fmla="*/ 917118 h 124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90600" h="1247775">
                  <a:moveTo>
                    <a:pt x="940992" y="917118"/>
                  </a:moveTo>
                  <a:cubicBezTo>
                    <a:pt x="909560" y="879875"/>
                    <a:pt x="863078" y="848443"/>
                    <a:pt x="816024" y="851491"/>
                  </a:cubicBezTo>
                  <a:cubicBezTo>
                    <a:pt x="919466" y="667277"/>
                    <a:pt x="962900" y="446297"/>
                    <a:pt x="854981" y="275990"/>
                  </a:cubicBezTo>
                  <a:cubicBezTo>
                    <a:pt x="839741" y="251892"/>
                    <a:pt x="824311" y="227603"/>
                    <a:pt x="804308" y="207315"/>
                  </a:cubicBezTo>
                  <a:cubicBezTo>
                    <a:pt x="784306" y="187027"/>
                    <a:pt x="759065" y="170739"/>
                    <a:pt x="730966" y="166358"/>
                  </a:cubicBezTo>
                  <a:cubicBezTo>
                    <a:pt x="656957" y="105302"/>
                    <a:pt x="569041" y="49772"/>
                    <a:pt x="481316" y="10814"/>
                  </a:cubicBezTo>
                  <a:cubicBezTo>
                    <a:pt x="461313" y="1956"/>
                    <a:pt x="441977" y="-1092"/>
                    <a:pt x="420070" y="337"/>
                  </a:cubicBezTo>
                  <a:cubicBezTo>
                    <a:pt x="361872" y="4242"/>
                    <a:pt x="303103" y="8338"/>
                    <a:pt x="246620" y="23387"/>
                  </a:cubicBezTo>
                  <a:cubicBezTo>
                    <a:pt x="202328" y="35198"/>
                    <a:pt x="156418" y="54725"/>
                    <a:pt x="120604" y="83966"/>
                  </a:cubicBezTo>
                  <a:cubicBezTo>
                    <a:pt x="88505" y="110160"/>
                    <a:pt x="70693" y="154166"/>
                    <a:pt x="54881" y="192456"/>
                  </a:cubicBezTo>
                  <a:cubicBezTo>
                    <a:pt x="17543" y="282372"/>
                    <a:pt x="684" y="380194"/>
                    <a:pt x="17" y="477349"/>
                  </a:cubicBezTo>
                  <a:cubicBezTo>
                    <a:pt x="-840" y="615652"/>
                    <a:pt x="30307" y="752621"/>
                    <a:pt x="74693" y="883685"/>
                  </a:cubicBezTo>
                  <a:cubicBezTo>
                    <a:pt x="101935" y="963886"/>
                    <a:pt x="137177" y="1046468"/>
                    <a:pt x="205281" y="1096950"/>
                  </a:cubicBezTo>
                  <a:cubicBezTo>
                    <a:pt x="303674" y="1169816"/>
                    <a:pt x="506747" y="1209059"/>
                    <a:pt x="601807" y="1110761"/>
                  </a:cubicBezTo>
                  <a:cubicBezTo>
                    <a:pt x="573613" y="1139908"/>
                    <a:pt x="660100" y="1210583"/>
                    <a:pt x="678864" y="1220394"/>
                  </a:cubicBezTo>
                  <a:cubicBezTo>
                    <a:pt x="727061" y="1245731"/>
                    <a:pt x="783925" y="1254684"/>
                    <a:pt x="837455" y="1244302"/>
                  </a:cubicBezTo>
                  <a:cubicBezTo>
                    <a:pt x="996046" y="1213346"/>
                    <a:pt x="1039481" y="1033704"/>
                    <a:pt x="940992" y="917118"/>
                  </a:cubicBez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A9908DBD-322F-4AC1-9E2B-AECB4EC3FB30}"/>
                </a:ext>
              </a:extLst>
            </p:cNvPr>
            <p:cNvSpPr/>
            <p:nvPr/>
          </p:nvSpPr>
          <p:spPr>
            <a:xfrm>
              <a:off x="10293370" y="1116950"/>
              <a:ext cx="283237" cy="539500"/>
            </a:xfrm>
            <a:custGeom>
              <a:avLst/>
              <a:gdLst>
                <a:gd name="connsiteX0" fmla="*/ 7050 w 200025"/>
                <a:gd name="connsiteY0" fmla="*/ 12119 h 381000"/>
                <a:gd name="connsiteX1" fmla="*/ 169452 w 200025"/>
                <a:gd name="connsiteY1" fmla="*/ 168900 h 381000"/>
                <a:gd name="connsiteX2" fmla="*/ 175738 w 200025"/>
                <a:gd name="connsiteY2" fmla="*/ 381499 h 381000"/>
                <a:gd name="connsiteX3" fmla="*/ 184311 w 200025"/>
                <a:gd name="connsiteY3" fmla="*/ 383880 h 381000"/>
                <a:gd name="connsiteX4" fmla="*/ 164880 w 200025"/>
                <a:gd name="connsiteY4" fmla="*/ 120037 h 381000"/>
                <a:gd name="connsiteX5" fmla="*/ 4002 w 200025"/>
                <a:gd name="connsiteY5" fmla="*/ 1356 h 381000"/>
                <a:gd name="connsiteX6" fmla="*/ 7050 w 200025"/>
                <a:gd name="connsiteY6" fmla="*/ 12119 h 381000"/>
                <a:gd name="connsiteX7" fmla="*/ 7050 w 200025"/>
                <a:gd name="connsiteY7" fmla="*/ 12119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0025" h="381000">
                  <a:moveTo>
                    <a:pt x="7050" y="12119"/>
                  </a:moveTo>
                  <a:cubicBezTo>
                    <a:pt x="95728" y="-168"/>
                    <a:pt x="146973" y="98415"/>
                    <a:pt x="169452" y="168900"/>
                  </a:cubicBezTo>
                  <a:cubicBezTo>
                    <a:pt x="191931" y="239290"/>
                    <a:pt x="190311" y="309966"/>
                    <a:pt x="175738" y="381499"/>
                  </a:cubicBezTo>
                  <a:cubicBezTo>
                    <a:pt x="174595" y="387118"/>
                    <a:pt x="182501" y="389404"/>
                    <a:pt x="184311" y="383880"/>
                  </a:cubicBezTo>
                  <a:cubicBezTo>
                    <a:pt x="212600" y="297679"/>
                    <a:pt x="203551" y="201571"/>
                    <a:pt x="164880" y="120037"/>
                  </a:cubicBezTo>
                  <a:cubicBezTo>
                    <a:pt x="134495" y="55934"/>
                    <a:pt x="82584" y="-10360"/>
                    <a:pt x="4002" y="1356"/>
                  </a:cubicBezTo>
                  <a:cubicBezTo>
                    <a:pt x="-3046" y="2499"/>
                    <a:pt x="2" y="13167"/>
                    <a:pt x="7050" y="12119"/>
                  </a:cubicBezTo>
                  <a:lnTo>
                    <a:pt x="7050" y="12119"/>
                  </a:ln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A4DBE1C1-6688-442F-AD02-5F68DED07C48}"/>
                </a:ext>
              </a:extLst>
            </p:cNvPr>
            <p:cNvSpPr/>
            <p:nvPr/>
          </p:nvSpPr>
          <p:spPr>
            <a:xfrm>
              <a:off x="10102110" y="2412980"/>
              <a:ext cx="350675" cy="215800"/>
            </a:xfrm>
            <a:custGeom>
              <a:avLst/>
              <a:gdLst>
                <a:gd name="connsiteX0" fmla="*/ 22582 w 247650"/>
                <a:gd name="connsiteY0" fmla="*/ 1058 h 152400"/>
                <a:gd name="connsiteX1" fmla="*/ 58777 w 247650"/>
                <a:gd name="connsiteY1" fmla="*/ 146981 h 152400"/>
                <a:gd name="connsiteX2" fmla="*/ 251944 w 247650"/>
                <a:gd name="connsiteY2" fmla="*/ 99642 h 152400"/>
                <a:gd name="connsiteX3" fmla="*/ 248134 w 247650"/>
                <a:gd name="connsiteY3" fmla="*/ 94689 h 152400"/>
                <a:gd name="connsiteX4" fmla="*/ 104497 w 247650"/>
                <a:gd name="connsiteY4" fmla="*/ 145457 h 152400"/>
                <a:gd name="connsiteX5" fmla="*/ 28202 w 247650"/>
                <a:gd name="connsiteY5" fmla="*/ 5344 h 152400"/>
                <a:gd name="connsiteX6" fmla="*/ 22582 w 247650"/>
                <a:gd name="connsiteY6" fmla="*/ 1058 h 152400"/>
                <a:gd name="connsiteX7" fmla="*/ 22582 w 247650"/>
                <a:gd name="connsiteY7" fmla="*/ 1058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7650" h="152400">
                  <a:moveTo>
                    <a:pt x="22582" y="1058"/>
                  </a:moveTo>
                  <a:cubicBezTo>
                    <a:pt x="-22280" y="48112"/>
                    <a:pt x="4866" y="120883"/>
                    <a:pt x="58777" y="146981"/>
                  </a:cubicBezTo>
                  <a:cubicBezTo>
                    <a:pt x="122214" y="177652"/>
                    <a:pt x="207653" y="152125"/>
                    <a:pt x="251944" y="99642"/>
                  </a:cubicBezTo>
                  <a:cubicBezTo>
                    <a:pt x="254230" y="96975"/>
                    <a:pt x="251373" y="93070"/>
                    <a:pt x="248134" y="94689"/>
                  </a:cubicBezTo>
                  <a:cubicBezTo>
                    <a:pt x="201081" y="118978"/>
                    <a:pt x="161266" y="151363"/>
                    <a:pt x="104497" y="145457"/>
                  </a:cubicBezTo>
                  <a:cubicBezTo>
                    <a:pt x="33536" y="138123"/>
                    <a:pt x="-12279" y="69829"/>
                    <a:pt x="28202" y="5344"/>
                  </a:cubicBezTo>
                  <a:cubicBezTo>
                    <a:pt x="30393" y="1915"/>
                    <a:pt x="25440" y="-1895"/>
                    <a:pt x="22582" y="1058"/>
                  </a:cubicBezTo>
                  <a:lnTo>
                    <a:pt x="22582" y="1058"/>
                  </a:ln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E9A683F8-D98F-4AC4-823B-0C48D7CDED47}"/>
                </a:ext>
              </a:extLst>
            </p:cNvPr>
            <p:cNvSpPr/>
            <p:nvPr/>
          </p:nvSpPr>
          <p:spPr>
            <a:xfrm>
              <a:off x="9279138" y="1906942"/>
              <a:ext cx="229287" cy="229287"/>
            </a:xfrm>
            <a:custGeom>
              <a:avLst/>
              <a:gdLst>
                <a:gd name="connsiteX0" fmla="*/ 168861 w 161925"/>
                <a:gd name="connsiteY0" fmla="*/ 155545 h 161925"/>
                <a:gd name="connsiteX1" fmla="*/ 115617 w 161925"/>
                <a:gd name="connsiteY1" fmla="*/ 165356 h 161925"/>
                <a:gd name="connsiteX2" fmla="*/ 32177 w 161925"/>
                <a:gd name="connsiteY2" fmla="*/ 143924 h 161925"/>
                <a:gd name="connsiteX3" fmla="*/ 2841 w 161925"/>
                <a:gd name="connsiteY3" fmla="*/ 90775 h 161925"/>
                <a:gd name="connsiteX4" fmla="*/ 364 w 161925"/>
                <a:gd name="connsiteY4" fmla="*/ 61723 h 161925"/>
                <a:gd name="connsiteX5" fmla="*/ 36940 w 161925"/>
                <a:gd name="connsiteY5" fmla="*/ 9908 h 161925"/>
                <a:gd name="connsiteX6" fmla="*/ 143334 w 161925"/>
                <a:gd name="connsiteY6" fmla="*/ 31053 h 161925"/>
                <a:gd name="connsiteX7" fmla="*/ 168861 w 161925"/>
                <a:gd name="connsiteY7" fmla="*/ 155545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1925" h="161925">
                  <a:moveTo>
                    <a:pt x="168861" y="155545"/>
                  </a:moveTo>
                  <a:cubicBezTo>
                    <a:pt x="153050" y="164784"/>
                    <a:pt x="133904" y="165451"/>
                    <a:pt x="115617" y="165356"/>
                  </a:cubicBezTo>
                  <a:cubicBezTo>
                    <a:pt x="86279" y="165165"/>
                    <a:pt x="54656" y="162784"/>
                    <a:pt x="32177" y="143924"/>
                  </a:cubicBezTo>
                  <a:cubicBezTo>
                    <a:pt x="16461" y="130685"/>
                    <a:pt x="7508" y="110777"/>
                    <a:pt x="2841" y="90775"/>
                  </a:cubicBezTo>
                  <a:cubicBezTo>
                    <a:pt x="650" y="81250"/>
                    <a:pt x="-684" y="71439"/>
                    <a:pt x="364" y="61723"/>
                  </a:cubicBezTo>
                  <a:cubicBezTo>
                    <a:pt x="2841" y="39911"/>
                    <a:pt x="17795" y="20575"/>
                    <a:pt x="36940" y="9908"/>
                  </a:cubicBezTo>
                  <a:cubicBezTo>
                    <a:pt x="71325" y="-9238"/>
                    <a:pt x="118855" y="192"/>
                    <a:pt x="143334" y="31053"/>
                  </a:cubicBezTo>
                  <a:cubicBezTo>
                    <a:pt x="146859" y="74868"/>
                    <a:pt x="157622" y="112968"/>
                    <a:pt x="168861" y="155545"/>
                  </a:cubicBezTo>
                  <a:close/>
                </a:path>
              </a:pathLst>
            </a:custGeom>
            <a:solidFill>
              <a:srgbClr val="F28B8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BFBF3889-460C-4FAD-9BE5-8F3E0500A0D6}"/>
                </a:ext>
              </a:extLst>
            </p:cNvPr>
            <p:cNvSpPr/>
            <p:nvPr/>
          </p:nvSpPr>
          <p:spPr>
            <a:xfrm>
              <a:off x="9277631" y="1960252"/>
              <a:ext cx="202312" cy="80925"/>
            </a:xfrm>
            <a:custGeom>
              <a:avLst/>
              <a:gdLst>
                <a:gd name="connsiteX0" fmla="*/ 0 w 142875"/>
                <a:gd name="connsiteY0" fmla="*/ 15312 h 57150"/>
                <a:gd name="connsiteX1" fmla="*/ 85534 w 142875"/>
                <a:gd name="connsiteY1" fmla="*/ 4930 h 57150"/>
                <a:gd name="connsiteX2" fmla="*/ 148209 w 142875"/>
                <a:gd name="connsiteY2" fmla="*/ 6408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2875" h="57150">
                  <a:moveTo>
                    <a:pt x="0" y="15312"/>
                  </a:moveTo>
                  <a:cubicBezTo>
                    <a:pt x="25146" y="-404"/>
                    <a:pt x="57341" y="-4309"/>
                    <a:pt x="85534" y="4930"/>
                  </a:cubicBezTo>
                  <a:cubicBezTo>
                    <a:pt x="113728" y="14169"/>
                    <a:pt x="137255" y="36458"/>
                    <a:pt x="148209" y="64080"/>
                  </a:cubicBezTo>
                </a:path>
              </a:pathLst>
            </a:custGeom>
            <a:noFill/>
            <a:ln w="9525" cap="flat">
              <a:solidFill>
                <a:srgbClr val="CC606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A85FF6BC-57DC-4A71-867A-7767D925EB6E}"/>
                </a:ext>
              </a:extLst>
            </p:cNvPr>
            <p:cNvSpPr/>
            <p:nvPr/>
          </p:nvSpPr>
          <p:spPr>
            <a:xfrm>
              <a:off x="10343951" y="1906942"/>
              <a:ext cx="229287" cy="229287"/>
            </a:xfrm>
            <a:custGeom>
              <a:avLst/>
              <a:gdLst>
                <a:gd name="connsiteX0" fmla="*/ 0 w 161925"/>
                <a:gd name="connsiteY0" fmla="*/ 155545 h 161925"/>
                <a:gd name="connsiteX1" fmla="*/ 53245 w 161925"/>
                <a:gd name="connsiteY1" fmla="*/ 165356 h 161925"/>
                <a:gd name="connsiteX2" fmla="*/ 136684 w 161925"/>
                <a:gd name="connsiteY2" fmla="*/ 143924 h 161925"/>
                <a:gd name="connsiteX3" fmla="*/ 166021 w 161925"/>
                <a:gd name="connsiteY3" fmla="*/ 90775 h 161925"/>
                <a:gd name="connsiteX4" fmla="*/ 168497 w 161925"/>
                <a:gd name="connsiteY4" fmla="*/ 61723 h 161925"/>
                <a:gd name="connsiteX5" fmla="*/ 131921 w 161925"/>
                <a:gd name="connsiteY5" fmla="*/ 9908 h 161925"/>
                <a:gd name="connsiteX6" fmla="*/ 25527 w 161925"/>
                <a:gd name="connsiteY6" fmla="*/ 31053 h 161925"/>
                <a:gd name="connsiteX7" fmla="*/ 0 w 161925"/>
                <a:gd name="connsiteY7" fmla="*/ 155545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1925" h="161925">
                  <a:moveTo>
                    <a:pt x="0" y="155545"/>
                  </a:moveTo>
                  <a:cubicBezTo>
                    <a:pt x="15812" y="164784"/>
                    <a:pt x="34957" y="165451"/>
                    <a:pt x="53245" y="165356"/>
                  </a:cubicBezTo>
                  <a:cubicBezTo>
                    <a:pt x="82582" y="165165"/>
                    <a:pt x="114205" y="162784"/>
                    <a:pt x="136684" y="143924"/>
                  </a:cubicBezTo>
                  <a:cubicBezTo>
                    <a:pt x="152400" y="130685"/>
                    <a:pt x="161354" y="110777"/>
                    <a:pt x="166021" y="90775"/>
                  </a:cubicBezTo>
                  <a:cubicBezTo>
                    <a:pt x="168212" y="81250"/>
                    <a:pt x="169545" y="71439"/>
                    <a:pt x="168497" y="61723"/>
                  </a:cubicBezTo>
                  <a:cubicBezTo>
                    <a:pt x="166021" y="39911"/>
                    <a:pt x="151067" y="20575"/>
                    <a:pt x="131921" y="9908"/>
                  </a:cubicBezTo>
                  <a:cubicBezTo>
                    <a:pt x="97536" y="-9238"/>
                    <a:pt x="50006" y="192"/>
                    <a:pt x="25527" y="31053"/>
                  </a:cubicBezTo>
                  <a:cubicBezTo>
                    <a:pt x="22003" y="74868"/>
                    <a:pt x="11240" y="112968"/>
                    <a:pt x="0" y="155545"/>
                  </a:cubicBezTo>
                  <a:close/>
                </a:path>
              </a:pathLst>
            </a:custGeom>
            <a:solidFill>
              <a:srgbClr val="F28B8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B769E296-7B3D-4D4B-BDA1-EA2449F5264A}"/>
                </a:ext>
              </a:extLst>
            </p:cNvPr>
            <p:cNvSpPr/>
            <p:nvPr/>
          </p:nvSpPr>
          <p:spPr>
            <a:xfrm>
              <a:off x="10374703" y="1960252"/>
              <a:ext cx="202312" cy="80925"/>
            </a:xfrm>
            <a:custGeom>
              <a:avLst/>
              <a:gdLst>
                <a:gd name="connsiteX0" fmla="*/ 148209 w 142875"/>
                <a:gd name="connsiteY0" fmla="*/ 15312 h 57150"/>
                <a:gd name="connsiteX1" fmla="*/ 62675 w 142875"/>
                <a:gd name="connsiteY1" fmla="*/ 4930 h 57150"/>
                <a:gd name="connsiteX2" fmla="*/ 0 w 142875"/>
                <a:gd name="connsiteY2" fmla="*/ 6408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2875" h="57150">
                  <a:moveTo>
                    <a:pt x="148209" y="15312"/>
                  </a:moveTo>
                  <a:cubicBezTo>
                    <a:pt x="123063" y="-404"/>
                    <a:pt x="90869" y="-4309"/>
                    <a:pt x="62675" y="4930"/>
                  </a:cubicBezTo>
                  <a:cubicBezTo>
                    <a:pt x="34480" y="14169"/>
                    <a:pt x="10954" y="36458"/>
                    <a:pt x="0" y="64080"/>
                  </a:cubicBezTo>
                </a:path>
              </a:pathLst>
            </a:custGeom>
            <a:noFill/>
            <a:ln w="9525" cap="flat">
              <a:solidFill>
                <a:srgbClr val="CC606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10928643-AD9D-474C-959E-46C08BD532D3}"/>
                </a:ext>
              </a:extLst>
            </p:cNvPr>
            <p:cNvSpPr/>
            <p:nvPr/>
          </p:nvSpPr>
          <p:spPr>
            <a:xfrm>
              <a:off x="9387057" y="1070661"/>
              <a:ext cx="1065512" cy="1497112"/>
            </a:xfrm>
            <a:custGeom>
              <a:avLst/>
              <a:gdLst>
                <a:gd name="connsiteX0" fmla="*/ 183897 w 752475"/>
                <a:gd name="connsiteY0" fmla="*/ 47762 h 1057275"/>
                <a:gd name="connsiteX1" fmla="*/ 1969 w 752475"/>
                <a:gd name="connsiteY1" fmla="*/ 500961 h 1057275"/>
                <a:gd name="connsiteX2" fmla="*/ 25115 w 752475"/>
                <a:gd name="connsiteY2" fmla="*/ 639836 h 1057275"/>
                <a:gd name="connsiteX3" fmla="*/ 388875 w 752475"/>
                <a:gd name="connsiteY3" fmla="*/ 1066270 h 1057275"/>
                <a:gd name="connsiteX4" fmla="*/ 743014 w 752475"/>
                <a:gd name="connsiteY4" fmla="*/ 618119 h 1057275"/>
                <a:gd name="connsiteX5" fmla="*/ 649098 w 752475"/>
                <a:gd name="connsiteY5" fmla="*/ 71193 h 1057275"/>
                <a:gd name="connsiteX6" fmla="*/ 256382 w 752475"/>
                <a:gd name="connsiteY6" fmla="*/ 3756 h 1057275"/>
                <a:gd name="connsiteX7" fmla="*/ 183897 w 752475"/>
                <a:gd name="connsiteY7" fmla="*/ 47762 h 1057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52475" h="1057275">
                  <a:moveTo>
                    <a:pt x="183897" y="47762"/>
                  </a:moveTo>
                  <a:cubicBezTo>
                    <a:pt x="53309" y="159681"/>
                    <a:pt x="-12509" y="329607"/>
                    <a:pt x="1969" y="500961"/>
                  </a:cubicBezTo>
                  <a:cubicBezTo>
                    <a:pt x="5589" y="543253"/>
                    <a:pt x="12637" y="589734"/>
                    <a:pt x="25115" y="639836"/>
                  </a:cubicBezTo>
                  <a:cubicBezTo>
                    <a:pt x="78074" y="854244"/>
                    <a:pt x="128747" y="1006072"/>
                    <a:pt x="388875" y="1066270"/>
                  </a:cubicBezTo>
                  <a:cubicBezTo>
                    <a:pt x="388875" y="1066270"/>
                    <a:pt x="694818" y="989213"/>
                    <a:pt x="743014" y="618119"/>
                  </a:cubicBezTo>
                  <a:cubicBezTo>
                    <a:pt x="791211" y="247120"/>
                    <a:pt x="675577" y="97768"/>
                    <a:pt x="649098" y="71193"/>
                  </a:cubicBezTo>
                  <a:cubicBezTo>
                    <a:pt x="622618" y="44714"/>
                    <a:pt x="340678" y="-15579"/>
                    <a:pt x="256382" y="3756"/>
                  </a:cubicBezTo>
                  <a:cubicBezTo>
                    <a:pt x="235237" y="8709"/>
                    <a:pt x="209995" y="25473"/>
                    <a:pt x="183897" y="47762"/>
                  </a:cubicBezTo>
                  <a:close/>
                </a:path>
              </a:pathLst>
            </a:custGeom>
            <a:solidFill>
              <a:srgbClr val="FFA1A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E69B82DD-5FD1-494F-B473-F714979D0370}"/>
                </a:ext>
              </a:extLst>
            </p:cNvPr>
            <p:cNvSpPr/>
            <p:nvPr/>
          </p:nvSpPr>
          <p:spPr>
            <a:xfrm>
              <a:off x="9330637" y="981976"/>
              <a:ext cx="1159924" cy="984587"/>
            </a:xfrm>
            <a:custGeom>
              <a:avLst/>
              <a:gdLst>
                <a:gd name="connsiteX0" fmla="*/ 64960 w 819150"/>
                <a:gd name="connsiteY0" fmla="*/ 702561 h 695325"/>
                <a:gd name="connsiteX1" fmla="*/ 71438 w 819150"/>
                <a:gd name="connsiteY1" fmla="*/ 458340 h 695325"/>
                <a:gd name="connsiteX2" fmla="*/ 366427 w 819150"/>
                <a:gd name="connsiteY2" fmla="*/ 220120 h 695325"/>
                <a:gd name="connsiteX3" fmla="*/ 674275 w 819150"/>
                <a:gd name="connsiteY3" fmla="*/ 165161 h 695325"/>
                <a:gd name="connsiteX4" fmla="*/ 782955 w 819150"/>
                <a:gd name="connsiteY4" fmla="*/ 680844 h 695325"/>
                <a:gd name="connsiteX5" fmla="*/ 828199 w 819150"/>
                <a:gd name="connsiteY5" fmla="*/ 485867 h 695325"/>
                <a:gd name="connsiteX6" fmla="*/ 751237 w 819150"/>
                <a:gd name="connsiteY6" fmla="*/ 163446 h 695325"/>
                <a:gd name="connsiteX7" fmla="*/ 370142 w 819150"/>
                <a:gd name="connsiteY7" fmla="*/ 4093 h 695325"/>
                <a:gd name="connsiteX8" fmla="*/ 71438 w 819150"/>
                <a:gd name="connsiteY8" fmla="*/ 187259 h 695325"/>
                <a:gd name="connsiteX9" fmla="*/ 0 w 819150"/>
                <a:gd name="connsiteY9" fmla="*/ 392427 h 695325"/>
                <a:gd name="connsiteX10" fmla="*/ 20193 w 819150"/>
                <a:gd name="connsiteY10" fmla="*/ 630647 h 695325"/>
                <a:gd name="connsiteX11" fmla="*/ 64960 w 819150"/>
                <a:gd name="connsiteY11" fmla="*/ 702561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19150" h="695325">
                  <a:moveTo>
                    <a:pt x="64960" y="702561"/>
                  </a:moveTo>
                  <a:cubicBezTo>
                    <a:pt x="64960" y="702561"/>
                    <a:pt x="71438" y="526158"/>
                    <a:pt x="71438" y="458340"/>
                  </a:cubicBezTo>
                  <a:cubicBezTo>
                    <a:pt x="71438" y="458340"/>
                    <a:pt x="186880" y="291653"/>
                    <a:pt x="366427" y="220120"/>
                  </a:cubicBezTo>
                  <a:cubicBezTo>
                    <a:pt x="545973" y="148587"/>
                    <a:pt x="670560" y="165161"/>
                    <a:pt x="674275" y="165161"/>
                  </a:cubicBezTo>
                  <a:cubicBezTo>
                    <a:pt x="677894" y="165161"/>
                    <a:pt x="724853" y="579022"/>
                    <a:pt x="782955" y="680844"/>
                  </a:cubicBezTo>
                  <a:cubicBezTo>
                    <a:pt x="782955" y="680844"/>
                    <a:pt x="822674" y="586642"/>
                    <a:pt x="828199" y="485867"/>
                  </a:cubicBezTo>
                  <a:cubicBezTo>
                    <a:pt x="833723" y="385093"/>
                    <a:pt x="786098" y="198212"/>
                    <a:pt x="751237" y="163446"/>
                  </a:cubicBezTo>
                  <a:cubicBezTo>
                    <a:pt x="716471" y="128680"/>
                    <a:pt x="544163" y="-27054"/>
                    <a:pt x="370142" y="4093"/>
                  </a:cubicBezTo>
                  <a:cubicBezTo>
                    <a:pt x="196120" y="35240"/>
                    <a:pt x="120872" y="110297"/>
                    <a:pt x="71438" y="187259"/>
                  </a:cubicBezTo>
                  <a:cubicBezTo>
                    <a:pt x="22003" y="264221"/>
                    <a:pt x="0" y="324704"/>
                    <a:pt x="0" y="392427"/>
                  </a:cubicBezTo>
                  <a:cubicBezTo>
                    <a:pt x="0" y="460245"/>
                    <a:pt x="3619" y="588452"/>
                    <a:pt x="20193" y="630647"/>
                  </a:cubicBezTo>
                  <a:cubicBezTo>
                    <a:pt x="36576" y="672748"/>
                    <a:pt x="64960" y="702561"/>
                    <a:pt x="64960" y="702561"/>
                  </a:cubicBez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922421D5-855F-4253-8A1A-957576ECD9EF}"/>
                </a:ext>
              </a:extLst>
            </p:cNvPr>
            <p:cNvSpPr/>
            <p:nvPr/>
          </p:nvSpPr>
          <p:spPr>
            <a:xfrm>
              <a:off x="10283907" y="1190708"/>
              <a:ext cx="148362" cy="701350"/>
            </a:xfrm>
            <a:custGeom>
              <a:avLst/>
              <a:gdLst>
                <a:gd name="connsiteX0" fmla="*/ 3733 w 104775"/>
                <a:gd name="connsiteY0" fmla="*/ 1465 h 495300"/>
                <a:gd name="connsiteX1" fmla="*/ 20116 w 104775"/>
                <a:gd name="connsiteY1" fmla="*/ 259306 h 495300"/>
                <a:gd name="connsiteX2" fmla="*/ 102603 w 104775"/>
                <a:gd name="connsiteY2" fmla="*/ 503813 h 495300"/>
                <a:gd name="connsiteX3" fmla="*/ 106317 w 104775"/>
                <a:gd name="connsiteY3" fmla="*/ 502289 h 495300"/>
                <a:gd name="connsiteX4" fmla="*/ 29927 w 104775"/>
                <a:gd name="connsiteY4" fmla="*/ 265498 h 495300"/>
                <a:gd name="connsiteX5" fmla="*/ 6971 w 104775"/>
                <a:gd name="connsiteY5" fmla="*/ 1465 h 495300"/>
                <a:gd name="connsiteX6" fmla="*/ 3733 w 104775"/>
                <a:gd name="connsiteY6" fmla="*/ 1465 h 495300"/>
                <a:gd name="connsiteX7" fmla="*/ 3733 w 104775"/>
                <a:gd name="connsiteY7" fmla="*/ 1465 h 495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775" h="495300">
                  <a:moveTo>
                    <a:pt x="3733" y="1465"/>
                  </a:moveTo>
                  <a:cubicBezTo>
                    <a:pt x="-5697" y="86523"/>
                    <a:pt x="3828" y="175582"/>
                    <a:pt x="20116" y="259306"/>
                  </a:cubicBezTo>
                  <a:cubicBezTo>
                    <a:pt x="36023" y="341031"/>
                    <a:pt x="58121" y="432376"/>
                    <a:pt x="102603" y="503813"/>
                  </a:cubicBezTo>
                  <a:cubicBezTo>
                    <a:pt x="103745" y="505718"/>
                    <a:pt x="106984" y="504480"/>
                    <a:pt x="106317" y="502289"/>
                  </a:cubicBezTo>
                  <a:cubicBezTo>
                    <a:pt x="80981" y="422374"/>
                    <a:pt x="47167" y="348365"/>
                    <a:pt x="29927" y="265498"/>
                  </a:cubicBezTo>
                  <a:cubicBezTo>
                    <a:pt x="11543" y="177391"/>
                    <a:pt x="9448" y="90904"/>
                    <a:pt x="6971" y="1465"/>
                  </a:cubicBezTo>
                  <a:cubicBezTo>
                    <a:pt x="6781" y="-536"/>
                    <a:pt x="3923" y="-440"/>
                    <a:pt x="3733" y="1465"/>
                  </a:cubicBezTo>
                  <a:lnTo>
                    <a:pt x="3733" y="1465"/>
                  </a:ln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5329ABC7-A430-4E15-BFE5-AEF05F7EE672}"/>
                </a:ext>
              </a:extLst>
            </p:cNvPr>
            <p:cNvSpPr/>
            <p:nvPr/>
          </p:nvSpPr>
          <p:spPr>
            <a:xfrm>
              <a:off x="9483913" y="1204031"/>
              <a:ext cx="795762" cy="404625"/>
            </a:xfrm>
            <a:custGeom>
              <a:avLst/>
              <a:gdLst>
                <a:gd name="connsiteX0" fmla="*/ 562315 w 561975"/>
                <a:gd name="connsiteY0" fmla="*/ 819 h 285750"/>
                <a:gd name="connsiteX1" fmla="*/ 244 w 561975"/>
                <a:gd name="connsiteY1" fmla="*/ 283902 h 285750"/>
                <a:gd name="connsiteX2" fmla="*/ 3197 w 561975"/>
                <a:gd name="connsiteY2" fmla="*/ 286188 h 285750"/>
                <a:gd name="connsiteX3" fmla="*/ 242561 w 561975"/>
                <a:gd name="connsiteY3" fmla="*/ 80924 h 285750"/>
                <a:gd name="connsiteX4" fmla="*/ 562315 w 561975"/>
                <a:gd name="connsiteY4" fmla="*/ 5676 h 285750"/>
                <a:gd name="connsiteX5" fmla="*/ 562315 w 561975"/>
                <a:gd name="connsiteY5" fmla="*/ 819 h 285750"/>
                <a:gd name="connsiteX6" fmla="*/ 562315 w 561975"/>
                <a:gd name="connsiteY6" fmla="*/ 819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1975" h="285750">
                  <a:moveTo>
                    <a:pt x="562315" y="819"/>
                  </a:moveTo>
                  <a:cubicBezTo>
                    <a:pt x="352670" y="-10707"/>
                    <a:pt x="109972" y="100260"/>
                    <a:pt x="244" y="283902"/>
                  </a:cubicBezTo>
                  <a:cubicBezTo>
                    <a:pt x="-803" y="285711"/>
                    <a:pt x="1768" y="287902"/>
                    <a:pt x="3197" y="286188"/>
                  </a:cubicBezTo>
                  <a:cubicBezTo>
                    <a:pt x="72730" y="203225"/>
                    <a:pt x="145120" y="131311"/>
                    <a:pt x="242561" y="80924"/>
                  </a:cubicBezTo>
                  <a:cubicBezTo>
                    <a:pt x="342478" y="29298"/>
                    <a:pt x="450491" y="7105"/>
                    <a:pt x="562315" y="5676"/>
                  </a:cubicBezTo>
                  <a:cubicBezTo>
                    <a:pt x="565553" y="5676"/>
                    <a:pt x="565458" y="1009"/>
                    <a:pt x="562315" y="819"/>
                  </a:cubicBezTo>
                  <a:lnTo>
                    <a:pt x="562315" y="819"/>
                  </a:ln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960651BE-40B1-477D-96A8-994F115581FB}"/>
                </a:ext>
              </a:extLst>
            </p:cNvPr>
            <p:cNvSpPr/>
            <p:nvPr/>
          </p:nvSpPr>
          <p:spPr>
            <a:xfrm>
              <a:off x="10158229" y="1438604"/>
              <a:ext cx="134875" cy="67437"/>
            </a:xfrm>
            <a:custGeom>
              <a:avLst/>
              <a:gdLst>
                <a:gd name="connsiteX0" fmla="*/ 13716 w 95250"/>
                <a:gd name="connsiteY0" fmla="*/ 28614 h 47625"/>
                <a:gd name="connsiteX1" fmla="*/ 75057 w 95250"/>
                <a:gd name="connsiteY1" fmla="*/ 48426 h 47625"/>
                <a:gd name="connsiteX2" fmla="*/ 89440 w 95250"/>
                <a:gd name="connsiteY2" fmla="*/ 23756 h 47625"/>
                <a:gd name="connsiteX3" fmla="*/ 13716 w 95250"/>
                <a:gd name="connsiteY3" fmla="*/ 39 h 47625"/>
                <a:gd name="connsiteX4" fmla="*/ 13716 w 95250"/>
                <a:gd name="connsiteY4" fmla="*/ 28614 h 47625"/>
                <a:gd name="connsiteX5" fmla="*/ 13716 w 95250"/>
                <a:gd name="connsiteY5" fmla="*/ 2861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250" h="47625">
                  <a:moveTo>
                    <a:pt x="13716" y="28614"/>
                  </a:moveTo>
                  <a:cubicBezTo>
                    <a:pt x="35814" y="30043"/>
                    <a:pt x="56198" y="36901"/>
                    <a:pt x="75057" y="48426"/>
                  </a:cubicBezTo>
                  <a:cubicBezTo>
                    <a:pt x="90773" y="58046"/>
                    <a:pt x="105156" y="33281"/>
                    <a:pt x="89440" y="23756"/>
                  </a:cubicBezTo>
                  <a:cubicBezTo>
                    <a:pt x="66199" y="9564"/>
                    <a:pt x="40767" y="1849"/>
                    <a:pt x="13716" y="39"/>
                  </a:cubicBezTo>
                  <a:cubicBezTo>
                    <a:pt x="-4572" y="-1199"/>
                    <a:pt x="-4572" y="27471"/>
                    <a:pt x="13716" y="28614"/>
                  </a:cubicBezTo>
                  <a:lnTo>
                    <a:pt x="13716" y="28614"/>
                  </a:ln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B74FBE25-51F4-4ACB-A310-A10BC35793DE}"/>
                </a:ext>
              </a:extLst>
            </p:cNvPr>
            <p:cNvSpPr/>
            <p:nvPr/>
          </p:nvSpPr>
          <p:spPr>
            <a:xfrm>
              <a:off x="9542207" y="1438604"/>
              <a:ext cx="134875" cy="67437"/>
            </a:xfrm>
            <a:custGeom>
              <a:avLst/>
              <a:gdLst>
                <a:gd name="connsiteX0" fmla="*/ 82520 w 95250"/>
                <a:gd name="connsiteY0" fmla="*/ 39 h 47625"/>
                <a:gd name="connsiteX1" fmla="*/ 6797 w 95250"/>
                <a:gd name="connsiteY1" fmla="*/ 23756 h 47625"/>
                <a:gd name="connsiteX2" fmla="*/ 21179 w 95250"/>
                <a:gd name="connsiteY2" fmla="*/ 48426 h 47625"/>
                <a:gd name="connsiteX3" fmla="*/ 82520 w 95250"/>
                <a:gd name="connsiteY3" fmla="*/ 28614 h 47625"/>
                <a:gd name="connsiteX4" fmla="*/ 82520 w 95250"/>
                <a:gd name="connsiteY4" fmla="*/ 39 h 47625"/>
                <a:gd name="connsiteX5" fmla="*/ 82520 w 95250"/>
                <a:gd name="connsiteY5" fmla="*/ 39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5250" h="47625">
                  <a:moveTo>
                    <a:pt x="82520" y="39"/>
                  </a:moveTo>
                  <a:cubicBezTo>
                    <a:pt x="55469" y="1849"/>
                    <a:pt x="29942" y="9564"/>
                    <a:pt x="6797" y="23756"/>
                  </a:cubicBezTo>
                  <a:cubicBezTo>
                    <a:pt x="-8920" y="33281"/>
                    <a:pt x="5463" y="58046"/>
                    <a:pt x="21179" y="48426"/>
                  </a:cubicBezTo>
                  <a:cubicBezTo>
                    <a:pt x="40039" y="36901"/>
                    <a:pt x="60422" y="30138"/>
                    <a:pt x="82520" y="28614"/>
                  </a:cubicBezTo>
                  <a:cubicBezTo>
                    <a:pt x="100808" y="27471"/>
                    <a:pt x="100904" y="-1199"/>
                    <a:pt x="82520" y="39"/>
                  </a:cubicBezTo>
                  <a:lnTo>
                    <a:pt x="82520" y="39"/>
                  </a:ln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B48140B9-BEDC-4BC7-9729-946C158D4671}"/>
                </a:ext>
              </a:extLst>
            </p:cNvPr>
            <p:cNvSpPr/>
            <p:nvPr/>
          </p:nvSpPr>
          <p:spPr>
            <a:xfrm>
              <a:off x="9467854" y="1748066"/>
              <a:ext cx="903662" cy="229287"/>
            </a:xfrm>
            <a:custGeom>
              <a:avLst/>
              <a:gdLst>
                <a:gd name="connsiteX0" fmla="*/ 10157 w 638175"/>
                <a:gd name="connsiteY0" fmla="*/ 107249 h 161925"/>
                <a:gd name="connsiteX1" fmla="*/ 126267 w 638175"/>
                <a:gd name="connsiteY1" fmla="*/ 149254 h 161925"/>
                <a:gd name="connsiteX2" fmla="*/ 280000 w 638175"/>
                <a:gd name="connsiteY2" fmla="*/ 158779 h 161925"/>
                <a:gd name="connsiteX3" fmla="*/ 578990 w 638175"/>
                <a:gd name="connsiteY3" fmla="*/ 156874 h 161925"/>
                <a:gd name="connsiteX4" fmla="*/ 595849 w 638175"/>
                <a:gd name="connsiteY4" fmla="*/ 21333 h 161925"/>
                <a:gd name="connsiteX5" fmla="*/ 289049 w 638175"/>
                <a:gd name="connsiteY5" fmla="*/ 378 h 161925"/>
                <a:gd name="connsiteX6" fmla="*/ 143602 w 638175"/>
                <a:gd name="connsiteY6" fmla="*/ 5712 h 161925"/>
                <a:gd name="connsiteX7" fmla="*/ 10062 w 638175"/>
                <a:gd name="connsiteY7" fmla="*/ 52575 h 161925"/>
                <a:gd name="connsiteX8" fmla="*/ 10157 w 638175"/>
                <a:gd name="connsiteY8" fmla="*/ 107249 h 161925"/>
                <a:gd name="connsiteX9" fmla="*/ 10157 w 638175"/>
                <a:gd name="connsiteY9" fmla="*/ 107249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38175" h="161925">
                  <a:moveTo>
                    <a:pt x="10157" y="107249"/>
                  </a:moveTo>
                  <a:cubicBezTo>
                    <a:pt x="39970" y="139729"/>
                    <a:pt x="86166" y="142777"/>
                    <a:pt x="126267" y="149254"/>
                  </a:cubicBezTo>
                  <a:cubicBezTo>
                    <a:pt x="177225" y="157446"/>
                    <a:pt x="228565" y="158208"/>
                    <a:pt x="280000" y="158779"/>
                  </a:cubicBezTo>
                  <a:cubicBezTo>
                    <a:pt x="379441" y="159922"/>
                    <a:pt x="480025" y="169257"/>
                    <a:pt x="578990" y="156874"/>
                  </a:cubicBezTo>
                  <a:cubicBezTo>
                    <a:pt x="643474" y="148778"/>
                    <a:pt x="672144" y="37716"/>
                    <a:pt x="595849" y="21333"/>
                  </a:cubicBezTo>
                  <a:cubicBezTo>
                    <a:pt x="494979" y="-288"/>
                    <a:pt x="391443" y="1617"/>
                    <a:pt x="289049" y="378"/>
                  </a:cubicBezTo>
                  <a:cubicBezTo>
                    <a:pt x="240757" y="-193"/>
                    <a:pt x="191608" y="-1050"/>
                    <a:pt x="143602" y="5712"/>
                  </a:cubicBezTo>
                  <a:cubicBezTo>
                    <a:pt x="99692" y="11904"/>
                    <a:pt x="42066" y="15809"/>
                    <a:pt x="10062" y="52575"/>
                  </a:cubicBezTo>
                  <a:cubicBezTo>
                    <a:pt x="-3083" y="67625"/>
                    <a:pt x="-3654" y="92199"/>
                    <a:pt x="10157" y="107249"/>
                  </a:cubicBezTo>
                  <a:lnTo>
                    <a:pt x="10157" y="107249"/>
                  </a:lnTo>
                  <a:close/>
                </a:path>
              </a:pathLst>
            </a:custGeom>
            <a:solidFill>
              <a:srgbClr val="F28B8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E38BDC97-D2D0-4F13-8051-5229DD5B94B6}"/>
                </a:ext>
              </a:extLst>
            </p:cNvPr>
            <p:cNvSpPr/>
            <p:nvPr/>
          </p:nvSpPr>
          <p:spPr>
            <a:xfrm>
              <a:off x="9790964" y="1424767"/>
              <a:ext cx="121387" cy="606937"/>
            </a:xfrm>
            <a:custGeom>
              <a:avLst/>
              <a:gdLst>
                <a:gd name="connsiteX0" fmla="*/ 0 w 85725"/>
                <a:gd name="connsiteY0" fmla="*/ 0 h 428625"/>
                <a:gd name="connsiteX1" fmla="*/ 64484 w 85725"/>
                <a:gd name="connsiteY1" fmla="*/ 73914 h 428625"/>
                <a:gd name="connsiteX2" fmla="*/ 89249 w 85725"/>
                <a:gd name="connsiteY2" fmla="*/ 170116 h 428625"/>
                <a:gd name="connsiteX3" fmla="*/ 81534 w 85725"/>
                <a:gd name="connsiteY3" fmla="*/ 428911 h 428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725" h="428625">
                  <a:moveTo>
                    <a:pt x="0" y="0"/>
                  </a:moveTo>
                  <a:cubicBezTo>
                    <a:pt x="28956" y="16383"/>
                    <a:pt x="50578" y="43720"/>
                    <a:pt x="64484" y="73914"/>
                  </a:cubicBezTo>
                  <a:cubicBezTo>
                    <a:pt x="78391" y="104108"/>
                    <a:pt x="85154" y="137160"/>
                    <a:pt x="89249" y="170116"/>
                  </a:cubicBezTo>
                  <a:cubicBezTo>
                    <a:pt x="100013" y="256032"/>
                    <a:pt x="93917" y="343281"/>
                    <a:pt x="81534" y="428911"/>
                  </a:cubicBezTo>
                </a:path>
              </a:pathLst>
            </a:custGeom>
            <a:noFill/>
            <a:ln w="9525" cap="rnd">
              <a:solidFill>
                <a:srgbClr val="1C172B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7F01C60C-2EAC-43B8-A7E4-C4B647B56CCD}"/>
                </a:ext>
              </a:extLst>
            </p:cNvPr>
            <p:cNvSpPr/>
            <p:nvPr/>
          </p:nvSpPr>
          <p:spPr>
            <a:xfrm>
              <a:off x="9924626" y="2106425"/>
              <a:ext cx="161850" cy="80925"/>
            </a:xfrm>
            <a:custGeom>
              <a:avLst/>
              <a:gdLst>
                <a:gd name="connsiteX0" fmla="*/ 0 w 114300"/>
                <a:gd name="connsiteY0" fmla="*/ 64960 h 57150"/>
                <a:gd name="connsiteX1" fmla="*/ 68485 w 114300"/>
                <a:gd name="connsiteY1" fmla="*/ 51911 h 57150"/>
                <a:gd name="connsiteX2" fmla="*/ 115062 w 114300"/>
                <a:gd name="connsiteY2" fmla="*/ 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4300" h="57150">
                  <a:moveTo>
                    <a:pt x="0" y="64960"/>
                  </a:moveTo>
                  <a:cubicBezTo>
                    <a:pt x="23431" y="68199"/>
                    <a:pt x="47911" y="63532"/>
                    <a:pt x="68485" y="51911"/>
                  </a:cubicBezTo>
                  <a:cubicBezTo>
                    <a:pt x="89059" y="40291"/>
                    <a:pt x="105727" y="21717"/>
                    <a:pt x="115062" y="0"/>
                  </a:cubicBezTo>
                </a:path>
              </a:pathLst>
            </a:custGeom>
            <a:noFill/>
            <a:ln w="9525" cap="flat">
              <a:solidFill>
                <a:srgbClr val="1C172B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FB1ACE7C-3E50-4C7C-BC03-58905514BFDA}"/>
                </a:ext>
              </a:extLst>
            </p:cNvPr>
            <p:cNvSpPr/>
            <p:nvPr/>
          </p:nvSpPr>
          <p:spPr>
            <a:xfrm>
              <a:off x="9549372" y="1627016"/>
              <a:ext cx="202312" cy="161850"/>
            </a:xfrm>
            <a:custGeom>
              <a:avLst/>
              <a:gdLst>
                <a:gd name="connsiteX0" fmla="*/ 144517 w 142875"/>
                <a:gd name="connsiteY0" fmla="*/ 71959 h 114300"/>
                <a:gd name="connsiteX1" fmla="*/ 75175 w 142875"/>
                <a:gd name="connsiteY1" fmla="*/ 1760 h 114300"/>
                <a:gd name="connsiteX2" fmla="*/ 22 w 142875"/>
                <a:gd name="connsiteY2" fmla="*/ 50909 h 114300"/>
                <a:gd name="connsiteX3" fmla="*/ 67269 w 142875"/>
                <a:gd name="connsiteY3" fmla="*/ 121584 h 114300"/>
                <a:gd name="connsiteX4" fmla="*/ 144517 w 142875"/>
                <a:gd name="connsiteY4" fmla="*/ 71959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875" h="114300">
                  <a:moveTo>
                    <a:pt x="144517" y="71959"/>
                  </a:moveTo>
                  <a:cubicBezTo>
                    <a:pt x="144517" y="71959"/>
                    <a:pt x="130420" y="12523"/>
                    <a:pt x="75175" y="1760"/>
                  </a:cubicBezTo>
                  <a:cubicBezTo>
                    <a:pt x="26311" y="-7765"/>
                    <a:pt x="975" y="23191"/>
                    <a:pt x="22" y="50909"/>
                  </a:cubicBezTo>
                  <a:cubicBezTo>
                    <a:pt x="-930" y="78627"/>
                    <a:pt x="28502" y="120918"/>
                    <a:pt x="67269" y="121584"/>
                  </a:cubicBezTo>
                  <a:cubicBezTo>
                    <a:pt x="106036" y="122251"/>
                    <a:pt x="135658" y="95676"/>
                    <a:pt x="144517" y="71959"/>
                  </a:cubicBezTo>
                  <a:close/>
                </a:path>
              </a:pathLst>
            </a:custGeom>
            <a:solidFill>
              <a:srgbClr val="FEFEF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C289796D-8183-4527-AE81-D148A8A0F3ED}"/>
                </a:ext>
              </a:extLst>
            </p:cNvPr>
            <p:cNvSpPr/>
            <p:nvPr/>
          </p:nvSpPr>
          <p:spPr>
            <a:xfrm>
              <a:off x="9588536" y="1638400"/>
              <a:ext cx="134875" cy="134875"/>
            </a:xfrm>
            <a:custGeom>
              <a:avLst/>
              <a:gdLst>
                <a:gd name="connsiteX0" fmla="*/ 53037 w 95250"/>
                <a:gd name="connsiteY0" fmla="*/ 4943 h 95250"/>
                <a:gd name="connsiteX1" fmla="*/ 91246 w 95250"/>
                <a:gd name="connsiteY1" fmla="*/ 53037 h 95250"/>
                <a:gd name="connsiteX2" fmla="*/ 43152 w 95250"/>
                <a:gd name="connsiteY2" fmla="*/ 91246 h 95250"/>
                <a:gd name="connsiteX3" fmla="*/ 4943 w 95250"/>
                <a:gd name="connsiteY3" fmla="*/ 43152 h 95250"/>
                <a:gd name="connsiteX4" fmla="*/ 53037 w 95250"/>
                <a:gd name="connsiteY4" fmla="*/ 4943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53037" y="4943"/>
                  </a:moveTo>
                  <a:cubicBezTo>
                    <a:pt x="76869" y="7673"/>
                    <a:pt x="93976" y="29205"/>
                    <a:pt x="91246" y="53037"/>
                  </a:cubicBezTo>
                  <a:cubicBezTo>
                    <a:pt x="88516" y="76869"/>
                    <a:pt x="66984" y="93976"/>
                    <a:pt x="43152" y="91246"/>
                  </a:cubicBezTo>
                  <a:cubicBezTo>
                    <a:pt x="19320" y="88516"/>
                    <a:pt x="2213" y="66984"/>
                    <a:pt x="4943" y="43152"/>
                  </a:cubicBezTo>
                  <a:cubicBezTo>
                    <a:pt x="7673" y="19320"/>
                    <a:pt x="29205" y="2213"/>
                    <a:pt x="53037" y="4943"/>
                  </a:cubicBez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CE96FF1C-CF92-40F8-9043-2C9B4A8A26DF}"/>
                </a:ext>
              </a:extLst>
            </p:cNvPr>
            <p:cNvSpPr/>
            <p:nvPr/>
          </p:nvSpPr>
          <p:spPr>
            <a:xfrm>
              <a:off x="9470244" y="1613064"/>
              <a:ext cx="296725" cy="107900"/>
            </a:xfrm>
            <a:custGeom>
              <a:avLst/>
              <a:gdLst>
                <a:gd name="connsiteX0" fmla="*/ 21137 w 209550"/>
                <a:gd name="connsiteY0" fmla="*/ 57619 h 76200"/>
                <a:gd name="connsiteX1" fmla="*/ 192111 w 209550"/>
                <a:gd name="connsiteY1" fmla="*/ 76573 h 76200"/>
                <a:gd name="connsiteX2" fmla="*/ 216781 w 209550"/>
                <a:gd name="connsiteY2" fmla="*/ 62191 h 76200"/>
                <a:gd name="connsiteX3" fmla="*/ 6755 w 209550"/>
                <a:gd name="connsiteY3" fmla="*/ 33044 h 76200"/>
                <a:gd name="connsiteX4" fmla="*/ 21137 w 209550"/>
                <a:gd name="connsiteY4" fmla="*/ 57619 h 76200"/>
                <a:gd name="connsiteX5" fmla="*/ 21137 w 209550"/>
                <a:gd name="connsiteY5" fmla="*/ 57619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76200">
                  <a:moveTo>
                    <a:pt x="21137" y="57619"/>
                  </a:moveTo>
                  <a:cubicBezTo>
                    <a:pt x="75144" y="23805"/>
                    <a:pt x="157726" y="5612"/>
                    <a:pt x="192111" y="76573"/>
                  </a:cubicBezTo>
                  <a:cubicBezTo>
                    <a:pt x="200112" y="93147"/>
                    <a:pt x="224782" y="78669"/>
                    <a:pt x="216781" y="62191"/>
                  </a:cubicBezTo>
                  <a:cubicBezTo>
                    <a:pt x="175823" y="-22391"/>
                    <a:pt x="73715" y="-8866"/>
                    <a:pt x="6755" y="33044"/>
                  </a:cubicBezTo>
                  <a:cubicBezTo>
                    <a:pt x="-8866" y="42664"/>
                    <a:pt x="5421" y="67429"/>
                    <a:pt x="21137" y="57619"/>
                  </a:cubicBezTo>
                  <a:lnTo>
                    <a:pt x="21137" y="57619"/>
                  </a:ln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81630AFC-7DA0-482B-985A-527FCD06F4C1}"/>
                </a:ext>
              </a:extLst>
            </p:cNvPr>
            <p:cNvSpPr/>
            <p:nvPr/>
          </p:nvSpPr>
          <p:spPr>
            <a:xfrm>
              <a:off x="10073528" y="1627016"/>
              <a:ext cx="202312" cy="161850"/>
            </a:xfrm>
            <a:custGeom>
              <a:avLst/>
              <a:gdLst>
                <a:gd name="connsiteX0" fmla="*/ 0 w 142875"/>
                <a:gd name="connsiteY0" fmla="*/ 71959 h 114300"/>
                <a:gd name="connsiteX1" fmla="*/ 69342 w 142875"/>
                <a:gd name="connsiteY1" fmla="*/ 1760 h 114300"/>
                <a:gd name="connsiteX2" fmla="*/ 144494 w 142875"/>
                <a:gd name="connsiteY2" fmla="*/ 50909 h 114300"/>
                <a:gd name="connsiteX3" fmla="*/ 77248 w 142875"/>
                <a:gd name="connsiteY3" fmla="*/ 121584 h 114300"/>
                <a:gd name="connsiteX4" fmla="*/ 0 w 142875"/>
                <a:gd name="connsiteY4" fmla="*/ 71959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875" h="114300">
                  <a:moveTo>
                    <a:pt x="0" y="71959"/>
                  </a:moveTo>
                  <a:cubicBezTo>
                    <a:pt x="0" y="71959"/>
                    <a:pt x="14097" y="12523"/>
                    <a:pt x="69342" y="1760"/>
                  </a:cubicBezTo>
                  <a:cubicBezTo>
                    <a:pt x="118205" y="-7765"/>
                    <a:pt x="143542" y="23191"/>
                    <a:pt x="144494" y="50909"/>
                  </a:cubicBezTo>
                  <a:cubicBezTo>
                    <a:pt x="145447" y="78627"/>
                    <a:pt x="116015" y="120918"/>
                    <a:pt x="77248" y="121584"/>
                  </a:cubicBezTo>
                  <a:cubicBezTo>
                    <a:pt x="38481" y="122251"/>
                    <a:pt x="8953" y="95676"/>
                    <a:pt x="0" y="71959"/>
                  </a:cubicBezTo>
                  <a:close/>
                </a:path>
              </a:pathLst>
            </a:custGeom>
            <a:solidFill>
              <a:srgbClr val="FEFEF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0125841E-DC5B-4078-AEC3-85A7A7745628}"/>
                </a:ext>
              </a:extLst>
            </p:cNvPr>
            <p:cNvSpPr/>
            <p:nvPr/>
          </p:nvSpPr>
          <p:spPr>
            <a:xfrm>
              <a:off x="10109576" y="1647078"/>
              <a:ext cx="121387" cy="121387"/>
            </a:xfrm>
            <a:custGeom>
              <a:avLst/>
              <a:gdLst>
                <a:gd name="connsiteX0" fmla="*/ 1307 w 85725"/>
                <a:gd name="connsiteY0" fmla="*/ 53980 h 85725"/>
                <a:gd name="connsiteX1" fmla="*/ 53980 w 85725"/>
                <a:gd name="connsiteY1" fmla="*/ 85603 h 85725"/>
                <a:gd name="connsiteX2" fmla="*/ 85603 w 85725"/>
                <a:gd name="connsiteY2" fmla="*/ 32930 h 85725"/>
                <a:gd name="connsiteX3" fmla="*/ 32930 w 85725"/>
                <a:gd name="connsiteY3" fmla="*/ 1307 h 85725"/>
                <a:gd name="connsiteX4" fmla="*/ 1307 w 85725"/>
                <a:gd name="connsiteY4" fmla="*/ 53980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725" h="85725">
                  <a:moveTo>
                    <a:pt x="1307" y="53980"/>
                  </a:moveTo>
                  <a:cubicBezTo>
                    <a:pt x="7117" y="77317"/>
                    <a:pt x="30739" y="91414"/>
                    <a:pt x="53980" y="85603"/>
                  </a:cubicBezTo>
                  <a:cubicBezTo>
                    <a:pt x="77317" y="79793"/>
                    <a:pt x="91414" y="56171"/>
                    <a:pt x="85603" y="32930"/>
                  </a:cubicBezTo>
                  <a:cubicBezTo>
                    <a:pt x="79793" y="9594"/>
                    <a:pt x="56171" y="-4503"/>
                    <a:pt x="32930" y="1307"/>
                  </a:cubicBezTo>
                  <a:cubicBezTo>
                    <a:pt x="9594" y="7117"/>
                    <a:pt x="-4503" y="30739"/>
                    <a:pt x="1307" y="53980"/>
                  </a:cubicBez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3A329E56-060D-4034-BCD4-D535E3354E2D}"/>
                </a:ext>
              </a:extLst>
            </p:cNvPr>
            <p:cNvSpPr/>
            <p:nvPr/>
          </p:nvSpPr>
          <p:spPr>
            <a:xfrm>
              <a:off x="10048232" y="1612928"/>
              <a:ext cx="296725" cy="107900"/>
            </a:xfrm>
            <a:custGeom>
              <a:avLst/>
              <a:gdLst>
                <a:gd name="connsiteX0" fmla="*/ 211602 w 209550"/>
                <a:gd name="connsiteY0" fmla="*/ 33044 h 76200"/>
                <a:gd name="connsiteX1" fmla="*/ 1576 w 209550"/>
                <a:gd name="connsiteY1" fmla="*/ 62191 h 76200"/>
                <a:gd name="connsiteX2" fmla="*/ 26245 w 209550"/>
                <a:gd name="connsiteY2" fmla="*/ 76573 h 76200"/>
                <a:gd name="connsiteX3" fmla="*/ 197219 w 209550"/>
                <a:gd name="connsiteY3" fmla="*/ 57619 h 76200"/>
                <a:gd name="connsiteX4" fmla="*/ 211602 w 209550"/>
                <a:gd name="connsiteY4" fmla="*/ 33044 h 76200"/>
                <a:gd name="connsiteX5" fmla="*/ 211602 w 209550"/>
                <a:gd name="connsiteY5" fmla="*/ 33044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0" h="76200">
                  <a:moveTo>
                    <a:pt x="211602" y="33044"/>
                  </a:moveTo>
                  <a:cubicBezTo>
                    <a:pt x="144546" y="-8866"/>
                    <a:pt x="42533" y="-22391"/>
                    <a:pt x="1576" y="62191"/>
                  </a:cubicBezTo>
                  <a:cubicBezTo>
                    <a:pt x="-6425" y="78669"/>
                    <a:pt x="18244" y="93147"/>
                    <a:pt x="26245" y="76573"/>
                  </a:cubicBezTo>
                  <a:cubicBezTo>
                    <a:pt x="60440" y="5803"/>
                    <a:pt x="143117" y="23805"/>
                    <a:pt x="197219" y="57619"/>
                  </a:cubicBezTo>
                  <a:cubicBezTo>
                    <a:pt x="212840" y="67525"/>
                    <a:pt x="227223" y="42760"/>
                    <a:pt x="211602" y="33044"/>
                  </a:cubicBezTo>
                  <a:lnTo>
                    <a:pt x="211602" y="33044"/>
                  </a:lnTo>
                  <a:close/>
                </a:path>
              </a:pathLst>
            </a:custGeom>
            <a:solidFill>
              <a:srgbClr val="1C17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9B3FE296-4208-487E-98F6-671B71B6F131}"/>
                </a:ext>
              </a:extLst>
            </p:cNvPr>
            <p:cNvSpPr/>
            <p:nvPr/>
          </p:nvSpPr>
          <p:spPr>
            <a:xfrm>
              <a:off x="9225300" y="1465161"/>
              <a:ext cx="1362237" cy="458575"/>
            </a:xfrm>
            <a:custGeom>
              <a:avLst/>
              <a:gdLst>
                <a:gd name="connsiteX0" fmla="*/ 925925 w 962025"/>
                <a:gd name="connsiteY0" fmla="*/ 33861 h 323850"/>
                <a:gd name="connsiteX1" fmla="*/ 879062 w 962025"/>
                <a:gd name="connsiteY1" fmla="*/ 20145 h 323850"/>
                <a:gd name="connsiteX2" fmla="*/ 779717 w 962025"/>
                <a:gd name="connsiteY2" fmla="*/ 1762 h 323850"/>
                <a:gd name="connsiteX3" fmla="*/ 768858 w 962025"/>
                <a:gd name="connsiteY3" fmla="*/ 429 h 323850"/>
                <a:gd name="connsiteX4" fmla="*/ 758190 w 962025"/>
                <a:gd name="connsiteY4" fmla="*/ 429 h 323850"/>
                <a:gd name="connsiteX5" fmla="*/ 716185 w 962025"/>
                <a:gd name="connsiteY5" fmla="*/ 429 h 323850"/>
                <a:gd name="connsiteX6" fmla="*/ 247460 w 962025"/>
                <a:gd name="connsiteY6" fmla="*/ 429 h 323850"/>
                <a:gd name="connsiteX7" fmla="*/ 222314 w 962025"/>
                <a:gd name="connsiteY7" fmla="*/ 429 h 323850"/>
                <a:gd name="connsiteX8" fmla="*/ 185547 w 962025"/>
                <a:gd name="connsiteY8" fmla="*/ 1667 h 323850"/>
                <a:gd name="connsiteX9" fmla="*/ 84582 w 962025"/>
                <a:gd name="connsiteY9" fmla="*/ 20145 h 323850"/>
                <a:gd name="connsiteX10" fmla="*/ 80010 w 962025"/>
                <a:gd name="connsiteY10" fmla="*/ 21479 h 323850"/>
                <a:gd name="connsiteX11" fmla="*/ 0 w 962025"/>
                <a:gd name="connsiteY11" fmla="*/ 128349 h 323850"/>
                <a:gd name="connsiteX12" fmla="*/ 0 w 962025"/>
                <a:gd name="connsiteY12" fmla="*/ 128349 h 323850"/>
                <a:gd name="connsiteX13" fmla="*/ 202597 w 962025"/>
                <a:gd name="connsiteY13" fmla="*/ 330946 h 323850"/>
                <a:gd name="connsiteX14" fmla="*/ 246697 w 962025"/>
                <a:gd name="connsiteY14" fmla="*/ 330946 h 323850"/>
                <a:gd name="connsiteX15" fmla="*/ 440722 w 962025"/>
                <a:gd name="connsiteY15" fmla="*/ 198739 h 323850"/>
                <a:gd name="connsiteX16" fmla="*/ 480251 w 962025"/>
                <a:gd name="connsiteY16" fmla="*/ 164544 h 323850"/>
                <a:gd name="connsiteX17" fmla="*/ 483489 w 962025"/>
                <a:gd name="connsiteY17" fmla="*/ 164544 h 323850"/>
                <a:gd name="connsiteX18" fmla="*/ 523018 w 962025"/>
                <a:gd name="connsiteY18" fmla="*/ 198739 h 323850"/>
                <a:gd name="connsiteX19" fmla="*/ 717042 w 962025"/>
                <a:gd name="connsiteY19" fmla="*/ 330946 h 323850"/>
                <a:gd name="connsiteX20" fmla="*/ 717042 w 962025"/>
                <a:gd name="connsiteY20" fmla="*/ 330946 h 323850"/>
                <a:gd name="connsiteX21" fmla="*/ 963740 w 962025"/>
                <a:gd name="connsiteY21" fmla="*/ 84249 h 323850"/>
                <a:gd name="connsiteX22" fmla="*/ 963740 w 962025"/>
                <a:gd name="connsiteY22" fmla="*/ 84249 h 323850"/>
                <a:gd name="connsiteX23" fmla="*/ 925925 w 962025"/>
                <a:gd name="connsiteY23" fmla="*/ 33861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962025" h="323850">
                  <a:moveTo>
                    <a:pt x="925925" y="33861"/>
                  </a:moveTo>
                  <a:lnTo>
                    <a:pt x="879062" y="20145"/>
                  </a:lnTo>
                  <a:cubicBezTo>
                    <a:pt x="846392" y="10620"/>
                    <a:pt x="813149" y="4524"/>
                    <a:pt x="779717" y="1762"/>
                  </a:cubicBezTo>
                  <a:cubicBezTo>
                    <a:pt x="777431" y="905"/>
                    <a:pt x="773906" y="429"/>
                    <a:pt x="768858" y="429"/>
                  </a:cubicBezTo>
                  <a:cubicBezTo>
                    <a:pt x="765905" y="429"/>
                    <a:pt x="762286" y="429"/>
                    <a:pt x="758190" y="429"/>
                  </a:cubicBezTo>
                  <a:cubicBezTo>
                    <a:pt x="744188" y="-143"/>
                    <a:pt x="730187" y="-143"/>
                    <a:pt x="716185" y="429"/>
                  </a:cubicBezTo>
                  <a:cubicBezTo>
                    <a:pt x="601504" y="429"/>
                    <a:pt x="361379" y="429"/>
                    <a:pt x="247460" y="429"/>
                  </a:cubicBezTo>
                  <a:cubicBezTo>
                    <a:pt x="233458" y="-143"/>
                    <a:pt x="236315" y="-143"/>
                    <a:pt x="222314" y="429"/>
                  </a:cubicBezTo>
                  <a:cubicBezTo>
                    <a:pt x="209169" y="429"/>
                    <a:pt x="185547" y="1667"/>
                    <a:pt x="185547" y="1667"/>
                  </a:cubicBezTo>
                  <a:cubicBezTo>
                    <a:pt x="151543" y="4429"/>
                    <a:pt x="117729" y="10430"/>
                    <a:pt x="84582" y="20145"/>
                  </a:cubicBezTo>
                  <a:lnTo>
                    <a:pt x="80010" y="21479"/>
                  </a:lnTo>
                  <a:cubicBezTo>
                    <a:pt x="36004" y="34338"/>
                    <a:pt x="0" y="82439"/>
                    <a:pt x="0" y="128349"/>
                  </a:cubicBezTo>
                  <a:lnTo>
                    <a:pt x="0" y="128349"/>
                  </a:lnTo>
                  <a:cubicBezTo>
                    <a:pt x="0" y="240268"/>
                    <a:pt x="90678" y="330946"/>
                    <a:pt x="202597" y="330946"/>
                  </a:cubicBezTo>
                  <a:lnTo>
                    <a:pt x="246697" y="330946"/>
                  </a:lnTo>
                  <a:cubicBezTo>
                    <a:pt x="343853" y="330946"/>
                    <a:pt x="424529" y="291227"/>
                    <a:pt x="440722" y="198739"/>
                  </a:cubicBezTo>
                  <a:cubicBezTo>
                    <a:pt x="444151" y="179213"/>
                    <a:pt x="460439" y="164544"/>
                    <a:pt x="480251" y="164544"/>
                  </a:cubicBezTo>
                  <a:lnTo>
                    <a:pt x="483489" y="164544"/>
                  </a:lnTo>
                  <a:cubicBezTo>
                    <a:pt x="503301" y="164544"/>
                    <a:pt x="519589" y="179213"/>
                    <a:pt x="523018" y="198739"/>
                  </a:cubicBezTo>
                  <a:cubicBezTo>
                    <a:pt x="539210" y="291227"/>
                    <a:pt x="619887" y="330946"/>
                    <a:pt x="717042" y="330946"/>
                  </a:cubicBezTo>
                  <a:lnTo>
                    <a:pt x="717042" y="330946"/>
                  </a:lnTo>
                  <a:cubicBezTo>
                    <a:pt x="853250" y="330946"/>
                    <a:pt x="963740" y="220551"/>
                    <a:pt x="963740" y="84249"/>
                  </a:cubicBezTo>
                  <a:lnTo>
                    <a:pt x="963740" y="84249"/>
                  </a:lnTo>
                  <a:cubicBezTo>
                    <a:pt x="963644" y="62627"/>
                    <a:pt x="946690" y="39957"/>
                    <a:pt x="925925" y="33861"/>
                  </a:cubicBezTo>
                  <a:close/>
                </a:path>
              </a:pathLst>
            </a:custGeom>
            <a:solidFill>
              <a:srgbClr val="FFFCF3">
                <a:alpha val="4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378D5090-0BC6-402D-94CD-2A64FDB606E8}"/>
                </a:ext>
              </a:extLst>
            </p:cNvPr>
            <p:cNvSpPr/>
            <p:nvPr/>
          </p:nvSpPr>
          <p:spPr>
            <a:xfrm>
              <a:off x="10513354" y="4143845"/>
              <a:ext cx="161850" cy="903662"/>
            </a:xfrm>
            <a:custGeom>
              <a:avLst/>
              <a:gdLst>
                <a:gd name="connsiteX0" fmla="*/ 123349 w 114300"/>
                <a:gd name="connsiteY0" fmla="*/ 0 h 638175"/>
                <a:gd name="connsiteX1" fmla="*/ 107252 w 114300"/>
                <a:gd name="connsiteY1" fmla="*/ 584549 h 638175"/>
                <a:gd name="connsiteX2" fmla="*/ 0 w 114300"/>
                <a:gd name="connsiteY2" fmla="*/ 645700 h 63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4300" h="638175">
                  <a:moveTo>
                    <a:pt x="123349" y="0"/>
                  </a:moveTo>
                  <a:cubicBezTo>
                    <a:pt x="123349" y="0"/>
                    <a:pt x="116681" y="577882"/>
                    <a:pt x="107252" y="584549"/>
                  </a:cubicBezTo>
                  <a:cubicBezTo>
                    <a:pt x="85820" y="599885"/>
                    <a:pt x="52673" y="622649"/>
                    <a:pt x="0" y="645700"/>
                  </a:cubicBezTo>
                </a:path>
              </a:pathLst>
            </a:custGeom>
            <a:noFill/>
            <a:ln w="12700" cap="flat">
              <a:solidFill>
                <a:srgbClr val="0052AC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2" name="对话气泡: 圆角矩形 1">
            <a:extLst>
              <a:ext uri="{FF2B5EF4-FFF2-40B4-BE49-F238E27FC236}">
                <a16:creationId xmlns:a16="http://schemas.microsoft.com/office/drawing/2014/main" id="{C4EBA2EB-6256-40B2-8259-D68CD1CFFF22}"/>
              </a:ext>
            </a:extLst>
          </p:cNvPr>
          <p:cNvSpPr/>
          <p:nvPr userDrawn="1"/>
        </p:nvSpPr>
        <p:spPr>
          <a:xfrm>
            <a:off x="5166882" y="1992345"/>
            <a:ext cx="5613400" cy="3172940"/>
          </a:xfrm>
          <a:prstGeom prst="wedgeRoundRectCallout">
            <a:avLst>
              <a:gd name="adj1" fmla="val -70155"/>
              <a:gd name="adj2" fmla="val -23956"/>
              <a:gd name="adj3" fmla="val 166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5630457" y="2237913"/>
            <a:ext cx="4775200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630457" y="4544149"/>
            <a:ext cx="47752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30459" y="4247878"/>
            <a:ext cx="47752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10220254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4127" y="2286000"/>
            <a:ext cx="4754880" cy="4023360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89320" y="2286000"/>
            <a:ext cx="4754880" cy="4023360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B4A1D8B-9651-4536-BDE3-7CBFC2F09BC6}" type="datetimeFigureOut">
              <a:rPr lang="zh-CN" altLang="en-US" smtClean="0"/>
              <a:pPr>
                <a:defRPr/>
              </a:pPr>
              <a:t>2020/2/2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0D35025-228A-40F8-AC63-09BB2D744502}" type="slidenum">
              <a:rPr lang="zh-CN" altLang="en-US" smtClean="0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142343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300" b="0" cap="none" baseline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4128" y="2967788"/>
            <a:ext cx="4754880" cy="334157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9088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300" b="0" kern="1200" cap="none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None/>
            </a:pPr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90888" y="2967788"/>
            <a:ext cx="4754880" cy="3341572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44B0616-7B66-4649-BA1B-C1A33842E8E5}" type="datetimeFigureOut">
              <a:rPr lang="zh-CN" altLang="en-US" smtClean="0"/>
              <a:pPr>
                <a:defRPr/>
              </a:pPr>
              <a:t>2020/2/2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FB1F8A-E62C-4EE9-B796-A846E25F2089}" type="slidenum">
              <a:rPr lang="zh-CN" altLang="en-US" smtClean="0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539749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E288396-BFA3-4A4E-B2F4-41DB4A9F7A1A}" type="datetimeFigureOut">
              <a:rPr lang="zh-CN" altLang="en-US" smtClean="0"/>
              <a:pPr>
                <a:defRPr/>
              </a:pPr>
              <a:t>2020/2/2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53C1956-F1FE-43A3-93D5-2239FBB31477}" type="slidenum">
              <a:rPr lang="zh-CN" altLang="en-US" smtClean="0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805890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01E5A09-6D97-4A14-A79E-8C426DDEAE1B}" type="datetimeFigureOut">
              <a:rPr lang="zh-CN" altLang="en-US" smtClean="0"/>
              <a:pPr>
                <a:defRPr/>
              </a:pPr>
              <a:t>2020/2/2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5B32F77-659E-4D11-8155-F71F61E071EA}" type="slidenum">
              <a:rPr lang="zh-CN" altLang="en-US" smtClean="0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977124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24128" y="471509"/>
            <a:ext cx="4389120" cy="173736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0" y="822960"/>
            <a:ext cx="5678424" cy="518464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4128" y="2257506"/>
            <a:ext cx="4389120" cy="3762294"/>
          </a:xfr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FA8C01F-FA4E-4669-B32F-E55661EACC85}" type="datetimeFigureOut">
              <a:rPr lang="zh-CN" altLang="en-US" smtClean="0"/>
              <a:pPr>
                <a:defRPr/>
              </a:pPr>
              <a:t>2020/2/2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273F0A7-981C-4E3B-9547-49C2083FACC5}" type="slidenum">
              <a:rPr lang="zh-CN" altLang="en-US" smtClean="0"/>
              <a:pPr>
                <a:defRPr/>
              </a:pPr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763912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8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12188952" cy="4572000"/>
          </a:xfrm>
          <a:solidFill>
            <a:schemeClr val="accent1">
              <a:lumMod val="60000"/>
              <a:lumOff val="40000"/>
            </a:schemeClr>
          </a:solidFill>
        </p:spPr>
        <p:txBody>
          <a:bodyPr lIns="457200" tIns="365760" rIns="45720" bIns="4572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10600" y="4960138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530BF91-0ADD-440B-818F-B2FFA893FD46}" type="datetimeFigureOut">
              <a:rPr lang="zh-CN" altLang="en-US" smtClean="0"/>
              <a:pPr>
                <a:defRPr/>
              </a:pPr>
              <a:t>2020/2/2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6CBDB06-EBD8-45A9-BD93-3AB10CA88F01}" type="slidenum">
              <a:rPr lang="zh-CN" altLang="en-US" smtClean="0"/>
              <a:pPr>
                <a:defRPr/>
              </a:pPr>
              <a:t>‹#›</a:t>
            </a:fld>
            <a:endParaRPr lang="zh-CN" alt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03716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9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286000"/>
            <a:ext cx="9720073" cy="402336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24129" y="6470704"/>
            <a:ext cx="2154143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pPr>
              <a:defRPr/>
            </a:pPr>
            <a:fld id="{9F5E27A3-2622-493A-A382-B8CFC04E7A4D}" type="datetimeFigureOut">
              <a:rPr lang="zh-CN" altLang="en-US" smtClean="0"/>
              <a:pPr>
                <a:defRPr/>
              </a:pPr>
              <a:t>2020/2/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42932" y="6470704"/>
            <a:ext cx="5901459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pPr>
              <a:defRPr/>
            </a:pPr>
            <a:fld id="{514DA6D5-17EB-46AF-A66A-5120C4D9D6AD}" type="slidenum">
              <a:rPr lang="zh-CN" altLang="en-US" smtClean="0"/>
              <a:pPr>
                <a:defRPr/>
              </a:pPr>
              <a:t>‹#›</a:t>
            </a:fld>
            <a:endParaRPr lang="zh-CN" altLang="en-US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762000" y="826324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59872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</p:sldLayoutIdLst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5000" kern="1200" cap="all" spc="10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Tw Cen MT" panose="020B0602020104020603" pitchFamily="34" charset="0"/>
        <a:buChar char=" 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26517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480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7724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60704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16152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3624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854452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>
          <p15:clr>
            <a:srgbClr val="F26B43"/>
          </p15:clr>
        </p15:guide>
        <p15:guide id="2" pos="7257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31">
          <p15:clr>
            <a:srgbClr val="F26B43"/>
          </p15:clr>
        </p15:guide>
        <p15:guide id="6" orient="horz" pos="386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>
            <a:extLst>
              <a:ext uri="{FF2B5EF4-FFF2-40B4-BE49-F238E27FC236}">
                <a16:creationId xmlns:a16="http://schemas.microsoft.com/office/drawing/2014/main" id="{5C6CF213-B056-4390-82CB-4C4083E773FE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376" y="6165304"/>
            <a:ext cx="2317877" cy="554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4618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  <p:sldLayoutId id="2147483721" r:id="rId14"/>
    <p:sldLayoutId id="2147483722" r:id="rId15"/>
  </p:sldLayoutIdLst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5000" kern="1200" cap="all" spc="10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Tw Cen MT" panose="020B0602020104020603" pitchFamily="34" charset="0"/>
        <a:buChar char=" 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26517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480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7724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60704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16152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3624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8.png"/><Relationship Id="rId4" Type="http://schemas.openxmlformats.org/officeDocument/2006/relationships/image" Target="../media/image20.w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21.wmf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23.wmf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26.w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25.wmf"/><Relationship Id="rId4" Type="http://schemas.openxmlformats.org/officeDocument/2006/relationships/oleObject" Target="../embeddings/oleObject5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8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6.vml"/><Relationship Id="rId4" Type="http://schemas.openxmlformats.org/officeDocument/2006/relationships/image" Target="../media/image32.wmf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4.png"/><Relationship Id="rId2" Type="http://schemas.openxmlformats.org/officeDocument/2006/relationships/tags" Target="../tags/tag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"/>
              <a:ea typeface="微软雅黑" panose="020B0503020204020204" pitchFamily="34" charset="-122"/>
              <a:cs typeface="+mn-ea"/>
              <a:sym typeface="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1847528" y="3444242"/>
            <a:ext cx="3443287" cy="558799"/>
          </a:xfrm>
          <a:noFill/>
          <a:ln>
            <a:noFill/>
          </a:ln>
        </p:spPr>
        <p:txBody>
          <a:bodyPr>
            <a:noAutofit/>
          </a:bodyPr>
          <a:lstStyle/>
          <a:p>
            <a:pPr algn="dist">
              <a:lnSpc>
                <a:spcPct val="120000"/>
              </a:lnSpc>
              <a:spcBef>
                <a:spcPts val="0"/>
              </a:spcBef>
              <a:defRPr/>
            </a:pPr>
            <a:r>
              <a:rPr lang="zh-CN" altLang="en-US" sz="2800" b="1" dirty="0">
                <a:solidFill>
                  <a:srgbClr val="0061CE"/>
                </a:solidFill>
                <a:latin typeface=""/>
                <a:ea typeface="微软雅黑" panose="020B0503020204020204" pitchFamily="34" charset="-122"/>
                <a:cs typeface="+mn-ea"/>
                <a:sym typeface=""/>
              </a:rPr>
              <a:t>有机化合物概述</a:t>
            </a:r>
          </a:p>
        </p:txBody>
      </p: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C663BCEA-287C-4B06-84B8-7D65106769A9}"/>
              </a:ext>
            </a:extLst>
          </p:cNvPr>
          <p:cNvGrpSpPr/>
          <p:nvPr/>
        </p:nvGrpSpPr>
        <p:grpSpPr>
          <a:xfrm>
            <a:off x="0" y="847442"/>
            <a:ext cx="1333500" cy="565716"/>
            <a:chOff x="0" y="920183"/>
            <a:chExt cx="1411122" cy="565716"/>
          </a:xfrm>
        </p:grpSpPr>
        <p:sp>
          <p:nvSpPr>
            <p:cNvPr id="14" name="箭头: V 形 13">
              <a:extLst>
                <a:ext uri="{FF2B5EF4-FFF2-40B4-BE49-F238E27FC236}">
                  <a16:creationId xmlns:a16="http://schemas.microsoft.com/office/drawing/2014/main" id="{8988008D-BB99-4631-BB8D-E377E9056335}"/>
                </a:ext>
              </a:extLst>
            </p:cNvPr>
            <p:cNvSpPr/>
            <p:nvPr/>
          </p:nvSpPr>
          <p:spPr>
            <a:xfrm>
              <a:off x="960272" y="927100"/>
              <a:ext cx="450850" cy="558799"/>
            </a:xfrm>
            <a:prstGeom prst="chevron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"/>
                <a:ea typeface="微软雅黑" panose="020B0503020204020204" pitchFamily="34" charset="-122"/>
                <a:cs typeface="+mn-ea"/>
                <a:sym typeface=""/>
              </a:endParaRPr>
            </a:p>
          </p:txBody>
        </p:sp>
        <p:sp>
          <p:nvSpPr>
            <p:cNvPr id="13" name="箭头: V 形 12">
              <a:extLst>
                <a:ext uri="{FF2B5EF4-FFF2-40B4-BE49-F238E27FC236}">
                  <a16:creationId xmlns:a16="http://schemas.microsoft.com/office/drawing/2014/main" id="{BC3E70FD-0858-4B16-90DB-6E3F3A2CA50D}"/>
                </a:ext>
              </a:extLst>
            </p:cNvPr>
            <p:cNvSpPr/>
            <p:nvPr/>
          </p:nvSpPr>
          <p:spPr>
            <a:xfrm>
              <a:off x="594725" y="920183"/>
              <a:ext cx="450850" cy="558799"/>
            </a:xfrm>
            <a:prstGeom prst="chevron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"/>
                <a:ea typeface="微软雅黑" panose="020B0503020204020204" pitchFamily="34" charset="-122"/>
                <a:cs typeface="+mn-ea"/>
                <a:sym typeface=""/>
              </a:endParaRPr>
            </a:p>
          </p:txBody>
        </p:sp>
        <p:sp>
          <p:nvSpPr>
            <p:cNvPr id="12" name="箭头: 五边形 11">
              <a:extLst>
                <a:ext uri="{FF2B5EF4-FFF2-40B4-BE49-F238E27FC236}">
                  <a16:creationId xmlns:a16="http://schemas.microsoft.com/office/drawing/2014/main" id="{99A43AC9-330B-471A-8FB8-D7518ECE13B9}"/>
                </a:ext>
              </a:extLst>
            </p:cNvPr>
            <p:cNvSpPr/>
            <p:nvPr/>
          </p:nvSpPr>
          <p:spPr>
            <a:xfrm>
              <a:off x="0" y="927100"/>
              <a:ext cx="691305" cy="558799"/>
            </a:xfrm>
            <a:prstGeom prst="homePlate">
              <a:avLst>
                <a:gd name="adj" fmla="val 42208"/>
              </a:avLst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"/>
                <a:ea typeface="微软雅黑" panose="020B0503020204020204" pitchFamily="34" charset="-122"/>
                <a:cs typeface="+mn-ea"/>
                <a:sym typeface=""/>
              </a:endParaRPr>
            </a:p>
          </p:txBody>
        </p:sp>
      </p:grpSp>
      <p:sp>
        <p:nvSpPr>
          <p:cNvPr id="18" name="文本框 17">
            <a:extLst>
              <a:ext uri="{FF2B5EF4-FFF2-40B4-BE49-F238E27FC236}">
                <a16:creationId xmlns:a16="http://schemas.microsoft.com/office/drawing/2014/main" id="{9F6C8AF9-7150-41BD-B93F-DB734451737F}"/>
              </a:ext>
            </a:extLst>
          </p:cNvPr>
          <p:cNvSpPr txBox="1"/>
          <p:nvPr/>
        </p:nvSpPr>
        <p:spPr>
          <a:xfrm>
            <a:off x="1434184" y="942188"/>
            <a:ext cx="1723549" cy="429861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"/>
                <a:ea typeface="微软雅黑" panose="020B0503020204020204" pitchFamily="34" charset="-122"/>
                <a:cs typeface="+mn-ea"/>
                <a:sym typeface=""/>
              </a:rPr>
              <a:t>临床医学专业</a:t>
            </a: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"/>
              <a:ea typeface="微软雅黑" panose="020B0503020204020204" pitchFamily="34" charset="-122"/>
              <a:cs typeface="+mn-ea"/>
              <a:sym typeface="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91371888-54BE-4803-8093-B2522D8F85FC}"/>
              </a:ext>
            </a:extLst>
          </p:cNvPr>
          <p:cNvSpPr txBox="1"/>
          <p:nvPr/>
        </p:nvSpPr>
        <p:spPr>
          <a:xfrm>
            <a:off x="1746063" y="2160577"/>
            <a:ext cx="3443287" cy="7673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0061CE"/>
                </a:solidFill>
                <a:effectLst/>
                <a:uLnTx/>
                <a:uFillTx/>
                <a:latin typeface=""/>
                <a:ea typeface="微软雅黑" panose="020B0503020204020204" pitchFamily="34" charset="-122"/>
                <a:cs typeface="+mn-ea"/>
                <a:sym typeface=""/>
              </a:rPr>
              <a:t>   医 用 化 学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7F5224E7-548D-4BC4-B6FD-5AE16934DD3C}"/>
              </a:ext>
            </a:extLst>
          </p:cNvPr>
          <p:cNvSpPr txBox="1"/>
          <p:nvPr/>
        </p:nvSpPr>
        <p:spPr>
          <a:xfrm>
            <a:off x="2785726" y="4733024"/>
            <a:ext cx="1323975" cy="3961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61CE"/>
                </a:solidFill>
                <a:effectLst/>
                <a:uLnTx/>
                <a:uFillTx/>
                <a:latin typeface=""/>
                <a:ea typeface="微软雅黑" panose="020B0503020204020204" pitchFamily="34" charset="-122"/>
                <a:cs typeface="+mn-ea"/>
                <a:sym typeface=""/>
              </a:rPr>
              <a:t>潘 沛 玲</a:t>
            </a:r>
          </a:p>
        </p:txBody>
      </p:sp>
      <p:pic>
        <p:nvPicPr>
          <p:cNvPr id="21" name="图片 20">
            <a:extLst>
              <a:ext uri="{FF2B5EF4-FFF2-40B4-BE49-F238E27FC236}">
                <a16:creationId xmlns:a16="http://schemas.microsoft.com/office/drawing/2014/main" id="{A4BBAEB4-BA10-4156-87C1-D208B88383B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6480" y="6453336"/>
            <a:ext cx="1775521" cy="404664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8658951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内容占位符 2"/>
          <p:cNvSpPr>
            <a:spLocks noGrp="1"/>
          </p:cNvSpPr>
          <p:nvPr>
            <p:ph idx="1"/>
          </p:nvPr>
        </p:nvSpPr>
        <p:spPr>
          <a:xfrm>
            <a:off x="1991544" y="2060848"/>
            <a:ext cx="7831089" cy="3340968"/>
          </a:xfr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en-US" altLang="zh-CN" sz="2800" b="1" dirty="0"/>
              <a:t>4.</a:t>
            </a:r>
            <a:r>
              <a:rPr lang="zh-CN" altLang="en-US" sz="2800" b="1" dirty="0"/>
              <a:t>反应速度比较慢</a:t>
            </a:r>
          </a:p>
          <a:p>
            <a:pPr eaLnBrk="1" hangingPunct="1">
              <a:spcBef>
                <a:spcPct val="50000"/>
              </a:spcBef>
            </a:pPr>
            <a:endParaRPr lang="zh-CN" altLang="en-US" sz="2800" b="1" dirty="0"/>
          </a:p>
          <a:p>
            <a:pPr eaLnBrk="1" hangingPunct="1">
              <a:spcBef>
                <a:spcPct val="50000"/>
              </a:spcBef>
            </a:pPr>
            <a:r>
              <a:rPr lang="en-US" altLang="zh-CN" sz="2800" b="1" dirty="0"/>
              <a:t>5.</a:t>
            </a:r>
            <a:r>
              <a:rPr lang="zh-CN" altLang="en-US" sz="2800" b="1" dirty="0"/>
              <a:t>发生副反应</a:t>
            </a:r>
          </a:p>
          <a:p>
            <a:pPr eaLnBrk="1" hangingPunct="1">
              <a:spcBef>
                <a:spcPct val="50000"/>
              </a:spcBef>
            </a:pPr>
            <a:endParaRPr lang="zh-CN" altLang="en-US" sz="2800" b="1" dirty="0"/>
          </a:p>
          <a:p>
            <a:pPr eaLnBrk="1" hangingPunct="1">
              <a:spcBef>
                <a:spcPct val="50000"/>
              </a:spcBef>
              <a:buNone/>
            </a:pPr>
            <a:endParaRPr lang="en-US" altLang="zh-CN" sz="2800" b="1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E41B4ABF-79C2-474B-882F-684604817496}"/>
              </a:ext>
            </a:extLst>
          </p:cNvPr>
          <p:cNvSpPr/>
          <p:nvPr/>
        </p:nvSpPr>
        <p:spPr>
          <a:xfrm>
            <a:off x="3751310" y="764704"/>
            <a:ext cx="4689379" cy="6265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5" tIns="34283" rIns="68565" bIns="34283" rtlCol="0" anchor="ctr"/>
          <a:lstStyle/>
          <a:p>
            <a:pPr algn="ctr"/>
            <a:r>
              <a:rPr lang="zh-CN" altLang="en-US" sz="3200" b="1" dirty="0">
                <a:latin typeface="+mj-ea"/>
                <a:ea typeface="+mj-ea"/>
              </a:rPr>
              <a:t>二、有机化合物的特性</a:t>
            </a:r>
          </a:p>
        </p:txBody>
      </p:sp>
      <p:pic>
        <p:nvPicPr>
          <p:cNvPr id="5" name="图片 4" descr="C:\Documents and Settings\zxl\My Documents\成套化学实验装置图_.files\Image35.gif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04112" y="2492896"/>
            <a:ext cx="2304256" cy="2520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内容占位符 2"/>
          <p:cNvSpPr>
            <a:spLocks noGrp="1"/>
          </p:cNvSpPr>
          <p:nvPr>
            <p:ph idx="1"/>
          </p:nvPr>
        </p:nvSpPr>
        <p:spPr>
          <a:xfrm>
            <a:off x="1991544" y="2060848"/>
            <a:ext cx="7831089" cy="3340968"/>
          </a:xfr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en-US" altLang="zh-CN" sz="2800" b="1" dirty="0"/>
              <a:t>6.</a:t>
            </a:r>
            <a:r>
              <a:rPr lang="zh-CN" altLang="en-US" sz="2800" b="1" dirty="0"/>
              <a:t>同分异构现象普遍</a:t>
            </a:r>
            <a:endParaRPr lang="en-US" altLang="zh-CN" sz="2800" b="1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E41B4ABF-79C2-474B-882F-684604817496}"/>
              </a:ext>
            </a:extLst>
          </p:cNvPr>
          <p:cNvSpPr/>
          <p:nvPr/>
        </p:nvSpPr>
        <p:spPr>
          <a:xfrm>
            <a:off x="3751310" y="764704"/>
            <a:ext cx="4689379" cy="6265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5" tIns="34283" rIns="68565" bIns="34283" rtlCol="0" anchor="ctr"/>
          <a:lstStyle/>
          <a:p>
            <a:pPr algn="ctr"/>
            <a:r>
              <a:rPr lang="zh-CN" altLang="en-US" sz="3200" b="1" dirty="0">
                <a:latin typeface="+mj-ea"/>
                <a:ea typeface="+mj-ea"/>
              </a:rPr>
              <a:t>二、有机化合物的特性</a:t>
            </a:r>
          </a:p>
        </p:txBody>
      </p:sp>
      <p:pic>
        <p:nvPicPr>
          <p:cNvPr id="5" name="图片 4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35760" y="3212976"/>
            <a:ext cx="3816424" cy="1584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内容占位符 2"/>
          <p:cNvSpPr>
            <a:spLocks noGrp="1"/>
          </p:cNvSpPr>
          <p:nvPr>
            <p:ph idx="1"/>
          </p:nvPr>
        </p:nvSpPr>
        <p:spPr>
          <a:xfrm>
            <a:off x="2855640" y="1953344"/>
            <a:ext cx="5198368" cy="4876800"/>
          </a:xfrm>
        </p:spPr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zh-CN" altLang="en-US" sz="2800" b="1" dirty="0"/>
              <a:t>对热不稳定，容易燃烧</a:t>
            </a:r>
          </a:p>
          <a:p>
            <a:pPr eaLnBrk="1" hangingPunct="1">
              <a:spcBef>
                <a:spcPct val="50000"/>
              </a:spcBef>
            </a:pPr>
            <a:r>
              <a:rPr lang="zh-CN" altLang="en-US" sz="2800" b="1" dirty="0"/>
              <a:t>熔点较低</a:t>
            </a:r>
          </a:p>
          <a:p>
            <a:pPr eaLnBrk="1" hangingPunct="1">
              <a:spcBef>
                <a:spcPct val="50000"/>
              </a:spcBef>
            </a:pPr>
            <a:r>
              <a:rPr lang="zh-CN" altLang="en-US" sz="2800" b="1" dirty="0"/>
              <a:t>难溶于水，易溶于有机溶剂</a:t>
            </a:r>
          </a:p>
          <a:p>
            <a:pPr eaLnBrk="1" hangingPunct="1">
              <a:spcBef>
                <a:spcPct val="50000"/>
              </a:spcBef>
            </a:pPr>
            <a:r>
              <a:rPr lang="zh-CN" altLang="en-US" sz="2800" b="1" dirty="0"/>
              <a:t>反应速度比较慢</a:t>
            </a:r>
          </a:p>
          <a:p>
            <a:pPr eaLnBrk="1" hangingPunct="1">
              <a:spcBef>
                <a:spcPct val="50000"/>
              </a:spcBef>
            </a:pPr>
            <a:r>
              <a:rPr lang="zh-CN" altLang="en-US" sz="2800" b="1" dirty="0"/>
              <a:t>发生副反应</a:t>
            </a:r>
          </a:p>
          <a:p>
            <a:pPr eaLnBrk="1" hangingPunct="1">
              <a:spcBef>
                <a:spcPct val="50000"/>
              </a:spcBef>
            </a:pPr>
            <a:r>
              <a:rPr lang="zh-CN" altLang="en-US" sz="2800" b="1" dirty="0"/>
              <a:t>同分异构现象普遍</a:t>
            </a:r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C9702AA2-B212-4431-857D-D9E0ACCCC426}"/>
              </a:ext>
            </a:extLst>
          </p:cNvPr>
          <p:cNvGrpSpPr/>
          <p:nvPr/>
        </p:nvGrpSpPr>
        <p:grpSpPr>
          <a:xfrm>
            <a:off x="179514" y="620688"/>
            <a:ext cx="5340422" cy="587152"/>
            <a:chOff x="535865" y="609600"/>
            <a:chExt cx="5340422" cy="587152"/>
          </a:xfrm>
        </p:grpSpPr>
        <p:sp>
          <p:nvSpPr>
            <p:cNvPr id="5" name="矩形 4">
              <a:extLst>
                <a:ext uri="{FF2B5EF4-FFF2-40B4-BE49-F238E27FC236}">
                  <a16:creationId xmlns:a16="http://schemas.microsoft.com/office/drawing/2014/main" id="{E693EE3C-4D02-43B5-A3DD-FDE3E02C99D1}"/>
                </a:ext>
              </a:extLst>
            </p:cNvPr>
            <p:cNvSpPr/>
            <p:nvPr/>
          </p:nvSpPr>
          <p:spPr>
            <a:xfrm>
              <a:off x="1341143" y="609600"/>
              <a:ext cx="4535144" cy="587152"/>
            </a:xfrm>
            <a:prstGeom prst="rect">
              <a:avLst/>
            </a:prstGeom>
            <a:noFill/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99A33F40-2E52-46B2-81B4-095853CA36B3}"/>
                </a:ext>
              </a:extLst>
            </p:cNvPr>
            <p:cNvSpPr/>
            <p:nvPr/>
          </p:nvSpPr>
          <p:spPr>
            <a:xfrm>
              <a:off x="535865" y="609600"/>
              <a:ext cx="139571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5EF6A171-F743-461C-BF65-E1D2EEDF0934}"/>
                </a:ext>
              </a:extLst>
            </p:cNvPr>
            <p:cNvSpPr/>
            <p:nvPr/>
          </p:nvSpPr>
          <p:spPr>
            <a:xfrm>
              <a:off x="740061" y="609600"/>
              <a:ext cx="139571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30DAB578-8AC2-41F0-A202-82888A99071C}"/>
                </a:ext>
              </a:extLst>
            </p:cNvPr>
            <p:cNvSpPr/>
            <p:nvPr/>
          </p:nvSpPr>
          <p:spPr>
            <a:xfrm>
              <a:off x="942606" y="609600"/>
              <a:ext cx="333913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9" name="Text Box 15">
            <a:extLst>
              <a:ext uri="{FF2B5EF4-FFF2-40B4-BE49-F238E27FC236}">
                <a16:creationId xmlns:a16="http://schemas.microsoft.com/office/drawing/2014/main" id="{B8D4AB15-67F9-4BD2-BC59-01683AD7115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0168" y="597670"/>
            <a:ext cx="4599768" cy="633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3200" b="1" dirty="0">
                <a:latin typeface="+mj-ea"/>
                <a:ea typeface="+mj-ea"/>
              </a:rPr>
              <a:t>有机化合物的特性小结</a:t>
            </a:r>
            <a:endParaRPr lang="en-US" altLang="zh-CN" sz="3200" b="1" dirty="0">
              <a:latin typeface="+mj-ea"/>
              <a:ea typeface="+mj-ea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1E893ACB-F988-415F-917B-0222BF3815C0}"/>
              </a:ext>
            </a:extLst>
          </p:cNvPr>
          <p:cNvSpPr/>
          <p:nvPr/>
        </p:nvSpPr>
        <p:spPr>
          <a:xfrm>
            <a:off x="1487488" y="1700808"/>
            <a:ext cx="8064896" cy="42484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279576" y="1779687"/>
            <a:ext cx="9073008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400" b="1" dirty="0">
                <a:latin typeface="+mn-ea"/>
                <a:ea typeface="+mn-ea"/>
              </a:rPr>
              <a:t>1.1</a:t>
            </a:r>
            <a:r>
              <a:rPr lang="en-US" altLang="zh-CN" sz="2400" dirty="0">
                <a:latin typeface="+mn-ea"/>
                <a:ea typeface="+mn-ea"/>
              </a:rPr>
              <a:t>828</a:t>
            </a:r>
            <a:r>
              <a:rPr lang="zh-CN" altLang="zh-CN" sz="2400" dirty="0">
                <a:latin typeface="+mn-ea"/>
                <a:ea typeface="+mn-ea"/>
              </a:rPr>
              <a:t>年，魏勒</a:t>
            </a:r>
            <a:r>
              <a:rPr lang="zh-CN" altLang="zh-CN" sz="2400" dirty="0">
                <a:latin typeface="Times New Roman" pitchFamily="18" charset="0"/>
                <a:ea typeface="+mn-ea"/>
                <a:cs typeface="Times New Roman" pitchFamily="18" charset="0"/>
              </a:rPr>
              <a:t>（</a:t>
            </a:r>
            <a:r>
              <a:rPr lang="en-US" altLang="zh-CN" sz="2400" b="1" dirty="0">
                <a:latin typeface="Times New Roman" pitchFamily="18" charset="0"/>
                <a:cs typeface="Times New Roman" pitchFamily="18" charset="0"/>
              </a:rPr>
              <a:t> Friedrich Wohler </a:t>
            </a:r>
            <a:r>
              <a:rPr lang="zh-CN" altLang="zh-CN" sz="2400" dirty="0">
                <a:latin typeface="+mn-ea"/>
                <a:ea typeface="+mn-ea"/>
              </a:rPr>
              <a:t>）第一次人工合成</a:t>
            </a:r>
            <a:r>
              <a:rPr lang="zh-CN" altLang="en-US" sz="2400" dirty="0">
                <a:latin typeface="+mn-ea"/>
                <a:ea typeface="+mn-ea"/>
              </a:rPr>
              <a:t>的</a:t>
            </a:r>
            <a:r>
              <a:rPr lang="zh-CN" altLang="zh-CN" sz="2400" dirty="0">
                <a:latin typeface="+mn-ea"/>
                <a:ea typeface="+mn-ea"/>
              </a:rPr>
              <a:t>有机物</a:t>
            </a:r>
            <a:r>
              <a:rPr lang="zh-CN" altLang="en-US" sz="2400" dirty="0">
                <a:latin typeface="+mn-ea"/>
                <a:ea typeface="+mn-ea"/>
              </a:rPr>
              <a:t>是</a:t>
            </a:r>
            <a:r>
              <a:rPr lang="zh-CN" altLang="zh-CN" sz="2400" dirty="0">
                <a:latin typeface="+mn-ea"/>
                <a:ea typeface="+mn-ea"/>
              </a:rPr>
              <a:t>（</a:t>
            </a:r>
            <a:r>
              <a:rPr lang="en-US" altLang="zh-CN" sz="2400" dirty="0">
                <a:latin typeface="+mn-ea"/>
                <a:ea typeface="+mn-ea"/>
              </a:rPr>
              <a:t>    </a:t>
            </a:r>
            <a:r>
              <a:rPr lang="zh-CN" altLang="zh-CN" sz="2400" dirty="0">
                <a:latin typeface="+mn-ea"/>
                <a:ea typeface="+mn-ea"/>
              </a:rPr>
              <a:t>）</a:t>
            </a:r>
            <a:endParaRPr lang="en-US" altLang="zh-CN" sz="2400" dirty="0">
              <a:latin typeface="+mn-ea"/>
              <a:ea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sz="2400" dirty="0">
                <a:latin typeface="+mn-ea"/>
                <a:ea typeface="+mn-ea"/>
              </a:rPr>
              <a:t>   A.</a:t>
            </a:r>
            <a:r>
              <a:rPr lang="zh-CN" altLang="zh-CN" sz="2400" dirty="0">
                <a:latin typeface="+mn-ea"/>
                <a:ea typeface="+mn-ea"/>
              </a:rPr>
              <a:t>苯</a:t>
            </a:r>
            <a:r>
              <a:rPr lang="en-US" altLang="zh-CN" sz="2400" dirty="0">
                <a:latin typeface="+mn-ea"/>
                <a:ea typeface="+mn-ea"/>
              </a:rPr>
              <a:t>    B.</a:t>
            </a:r>
            <a:r>
              <a:rPr lang="zh-CN" altLang="zh-CN" sz="2400" dirty="0">
                <a:latin typeface="+mn-ea"/>
                <a:ea typeface="+mn-ea"/>
              </a:rPr>
              <a:t>尿素</a:t>
            </a:r>
            <a:r>
              <a:rPr lang="en-US" altLang="zh-CN" sz="2400" dirty="0">
                <a:latin typeface="+mn-ea"/>
                <a:ea typeface="+mn-ea"/>
              </a:rPr>
              <a:t>    C.</a:t>
            </a:r>
            <a:r>
              <a:rPr lang="zh-CN" altLang="zh-CN" sz="2400" dirty="0">
                <a:latin typeface="+mn-ea"/>
                <a:ea typeface="+mn-ea"/>
              </a:rPr>
              <a:t>油脂</a:t>
            </a:r>
            <a:r>
              <a:rPr lang="en-US" altLang="zh-CN" sz="2400" dirty="0">
                <a:latin typeface="+mn-ea"/>
                <a:ea typeface="+mn-ea"/>
              </a:rPr>
              <a:t>    D.</a:t>
            </a:r>
            <a:r>
              <a:rPr lang="zh-CN" altLang="zh-CN" sz="2400" dirty="0">
                <a:latin typeface="+mn-ea"/>
                <a:ea typeface="+mn-ea"/>
              </a:rPr>
              <a:t>醋酸</a:t>
            </a:r>
          </a:p>
          <a:p>
            <a:pPr>
              <a:lnSpc>
                <a:spcPct val="150000"/>
              </a:lnSpc>
            </a:pPr>
            <a:r>
              <a:rPr lang="en-US" altLang="zh-CN" sz="2400" dirty="0">
                <a:latin typeface="+mn-ea"/>
                <a:ea typeface="+mn-ea"/>
              </a:rPr>
              <a:t>2.</a:t>
            </a:r>
            <a:r>
              <a:rPr lang="zh-CN" altLang="zh-CN" sz="2400" dirty="0">
                <a:latin typeface="+mn-ea"/>
                <a:ea typeface="+mn-ea"/>
              </a:rPr>
              <a:t>下列叙述中，不是有机物一般特点的是（</a:t>
            </a:r>
            <a:r>
              <a:rPr lang="en-US" altLang="zh-CN" sz="2400" dirty="0">
                <a:latin typeface="+mn-ea"/>
                <a:ea typeface="+mn-ea"/>
              </a:rPr>
              <a:t>    </a:t>
            </a:r>
            <a:r>
              <a:rPr lang="zh-CN" altLang="zh-CN" sz="2400" dirty="0">
                <a:latin typeface="+mn-ea"/>
                <a:ea typeface="+mn-ea"/>
              </a:rPr>
              <a:t>）</a:t>
            </a:r>
          </a:p>
          <a:p>
            <a:pPr>
              <a:lnSpc>
                <a:spcPct val="150000"/>
              </a:lnSpc>
            </a:pPr>
            <a:r>
              <a:rPr lang="en-US" altLang="zh-CN" sz="2400" dirty="0">
                <a:latin typeface="+mn-ea"/>
                <a:ea typeface="+mn-ea"/>
              </a:rPr>
              <a:t>  </a:t>
            </a:r>
            <a:r>
              <a:rPr lang="zh-CN" altLang="zh-CN" sz="2400" dirty="0">
                <a:latin typeface="+mn-ea"/>
                <a:ea typeface="+mn-ea"/>
              </a:rPr>
              <a:t>Ａ</a:t>
            </a:r>
            <a:r>
              <a:rPr lang="en-US" altLang="zh-CN" sz="2400" dirty="0">
                <a:latin typeface="+mn-ea"/>
                <a:ea typeface="+mn-ea"/>
              </a:rPr>
              <a:t>.</a:t>
            </a:r>
            <a:r>
              <a:rPr lang="zh-CN" altLang="zh-CN" sz="2400" dirty="0">
                <a:latin typeface="+mn-ea"/>
                <a:ea typeface="+mn-ea"/>
              </a:rPr>
              <a:t>有机物之间反应速度快</a:t>
            </a:r>
            <a:r>
              <a:rPr lang="en-US" altLang="zh-CN" sz="2400" dirty="0">
                <a:latin typeface="+mn-ea"/>
                <a:ea typeface="+mn-ea"/>
              </a:rPr>
              <a:t>   </a:t>
            </a:r>
            <a:r>
              <a:rPr lang="zh-CN" altLang="zh-CN" sz="2400" dirty="0">
                <a:latin typeface="+mn-ea"/>
                <a:ea typeface="+mn-ea"/>
              </a:rPr>
              <a:t>Ｂ</a:t>
            </a:r>
            <a:r>
              <a:rPr lang="en-US" altLang="zh-CN" sz="2400" dirty="0">
                <a:latin typeface="+mn-ea"/>
                <a:ea typeface="+mn-ea"/>
              </a:rPr>
              <a:t>.</a:t>
            </a:r>
            <a:r>
              <a:rPr lang="zh-CN" altLang="zh-CN" sz="2400" dirty="0">
                <a:latin typeface="+mn-ea"/>
                <a:ea typeface="+mn-ea"/>
              </a:rPr>
              <a:t>有机物绝大多数易燃</a:t>
            </a:r>
          </a:p>
          <a:p>
            <a:pPr>
              <a:lnSpc>
                <a:spcPct val="150000"/>
              </a:lnSpc>
            </a:pPr>
            <a:r>
              <a:rPr lang="en-US" altLang="zh-CN" sz="2400" dirty="0">
                <a:latin typeface="+mn-ea"/>
                <a:ea typeface="+mn-ea"/>
              </a:rPr>
              <a:t>  </a:t>
            </a:r>
            <a:r>
              <a:rPr lang="zh-CN" altLang="zh-CN" sz="2400" dirty="0">
                <a:latin typeface="+mn-ea"/>
                <a:ea typeface="+mn-ea"/>
              </a:rPr>
              <a:t>Ｃ</a:t>
            </a:r>
            <a:r>
              <a:rPr lang="en-US" altLang="zh-CN" sz="2400" dirty="0">
                <a:latin typeface="+mn-ea"/>
                <a:ea typeface="+mn-ea"/>
              </a:rPr>
              <a:t>.</a:t>
            </a:r>
            <a:r>
              <a:rPr lang="zh-CN" altLang="zh-CN" sz="2400" dirty="0">
                <a:latin typeface="+mn-ea"/>
                <a:ea typeface="+mn-ea"/>
              </a:rPr>
              <a:t>一般有机物的熔点较低  </a:t>
            </a:r>
            <a:r>
              <a:rPr lang="en-US" altLang="zh-CN" sz="2400" dirty="0">
                <a:latin typeface="+mn-ea"/>
                <a:ea typeface="+mn-ea"/>
              </a:rPr>
              <a:t> </a:t>
            </a:r>
            <a:r>
              <a:rPr lang="zh-CN" altLang="zh-CN" sz="2400" dirty="0">
                <a:latin typeface="+mn-ea"/>
                <a:ea typeface="+mn-ea"/>
              </a:rPr>
              <a:t>Ｄ</a:t>
            </a:r>
            <a:r>
              <a:rPr lang="en-US" altLang="zh-CN" sz="2400" dirty="0">
                <a:latin typeface="+mn-ea"/>
                <a:ea typeface="+mn-ea"/>
              </a:rPr>
              <a:t>.</a:t>
            </a:r>
            <a:r>
              <a:rPr lang="zh-CN" altLang="zh-CN" sz="2400" dirty="0">
                <a:latin typeface="+mn-ea"/>
                <a:ea typeface="+mn-ea"/>
              </a:rPr>
              <a:t>多数有机物难溶于水</a:t>
            </a:r>
          </a:p>
          <a:p>
            <a:pPr>
              <a:lnSpc>
                <a:spcPct val="150000"/>
              </a:lnSpc>
            </a:pPr>
            <a:r>
              <a:rPr lang="en-US" altLang="zh-CN" sz="2400" dirty="0">
                <a:latin typeface="+mn-ea"/>
                <a:ea typeface="+mn-ea"/>
              </a:rPr>
              <a:t>3. </a:t>
            </a:r>
            <a:r>
              <a:rPr lang="zh-CN" altLang="zh-CN" sz="2400" dirty="0">
                <a:latin typeface="+mn-ea"/>
                <a:ea typeface="+mn-ea"/>
              </a:rPr>
              <a:t>下列物质中，不容易燃烧的是（</a:t>
            </a:r>
            <a:r>
              <a:rPr lang="en-US" altLang="zh-CN" sz="2400" dirty="0">
                <a:latin typeface="+mn-ea"/>
                <a:ea typeface="+mn-ea"/>
              </a:rPr>
              <a:t>    </a:t>
            </a:r>
            <a:r>
              <a:rPr lang="zh-CN" altLang="zh-CN" sz="2400" dirty="0">
                <a:latin typeface="+mn-ea"/>
                <a:ea typeface="+mn-ea"/>
              </a:rPr>
              <a:t>）</a:t>
            </a:r>
          </a:p>
          <a:p>
            <a:pPr>
              <a:lnSpc>
                <a:spcPct val="150000"/>
              </a:lnSpc>
            </a:pPr>
            <a:r>
              <a:rPr lang="en-US" altLang="zh-CN" sz="2400" dirty="0">
                <a:latin typeface="+mn-ea"/>
                <a:ea typeface="+mn-ea"/>
              </a:rPr>
              <a:t>   A.</a:t>
            </a:r>
            <a:r>
              <a:rPr lang="zh-CN" altLang="zh-CN" sz="2400" dirty="0">
                <a:latin typeface="+mn-ea"/>
                <a:ea typeface="+mn-ea"/>
              </a:rPr>
              <a:t>汽油</a:t>
            </a:r>
            <a:r>
              <a:rPr lang="en-US" altLang="zh-CN" sz="2400" dirty="0">
                <a:latin typeface="+mn-ea"/>
                <a:ea typeface="+mn-ea"/>
              </a:rPr>
              <a:t>    B.</a:t>
            </a:r>
            <a:r>
              <a:rPr lang="zh-CN" altLang="zh-CN" sz="2400" dirty="0">
                <a:latin typeface="+mn-ea"/>
                <a:ea typeface="+mn-ea"/>
              </a:rPr>
              <a:t>无水酒精</a:t>
            </a:r>
            <a:r>
              <a:rPr lang="en-US" altLang="zh-CN" sz="2400" dirty="0">
                <a:latin typeface="+mn-ea"/>
                <a:ea typeface="+mn-ea"/>
              </a:rPr>
              <a:t>       C.</a:t>
            </a:r>
            <a:r>
              <a:rPr lang="zh-CN" altLang="zh-CN" sz="2400" dirty="0">
                <a:latin typeface="+mn-ea"/>
                <a:ea typeface="+mn-ea"/>
              </a:rPr>
              <a:t>沼气</a:t>
            </a:r>
            <a:r>
              <a:rPr lang="en-US" altLang="zh-CN" sz="2400" dirty="0">
                <a:latin typeface="+mn-ea"/>
                <a:ea typeface="+mn-ea"/>
              </a:rPr>
              <a:t>     D.</a:t>
            </a:r>
            <a:r>
              <a:rPr lang="zh-CN" altLang="zh-CN" sz="2400" dirty="0">
                <a:latin typeface="+mn-ea"/>
                <a:ea typeface="+mn-ea"/>
              </a:rPr>
              <a:t>小苏打</a:t>
            </a:r>
          </a:p>
          <a:p>
            <a:pPr>
              <a:lnSpc>
                <a:spcPct val="150000"/>
              </a:lnSpc>
            </a:pPr>
            <a:r>
              <a:rPr lang="en-US" altLang="zh-CN" sz="2000" b="1" dirty="0">
                <a:latin typeface="+mn-ea"/>
                <a:ea typeface="+mn-ea"/>
              </a:rPr>
              <a:t>  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89ADDB1F-BC4B-4423-B65A-FCDDBC94BA84}"/>
              </a:ext>
            </a:extLst>
          </p:cNvPr>
          <p:cNvGrpSpPr/>
          <p:nvPr/>
        </p:nvGrpSpPr>
        <p:grpSpPr>
          <a:xfrm>
            <a:off x="395536" y="620688"/>
            <a:ext cx="2520280" cy="1728192"/>
            <a:chOff x="20345" y="262272"/>
            <a:chExt cx="3050575" cy="2091823"/>
          </a:xfrm>
        </p:grpSpPr>
        <p:pic>
          <p:nvPicPr>
            <p:cNvPr id="6" name="图片 5">
              <a:extLst>
                <a:ext uri="{FF2B5EF4-FFF2-40B4-BE49-F238E27FC236}">
                  <a16:creationId xmlns:a16="http://schemas.microsoft.com/office/drawing/2014/main" id="{D60489F3-62CE-4B1B-BDF2-83827D6068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345" y="262272"/>
              <a:ext cx="2091823" cy="2091823"/>
            </a:xfrm>
            <a:prstGeom prst="rect">
              <a:avLst/>
            </a:prstGeom>
          </p:spPr>
        </p:pic>
        <p:sp>
          <p:nvSpPr>
            <p:cNvPr id="7" name="Text Box 12">
              <a:extLst>
                <a:ext uri="{FF2B5EF4-FFF2-40B4-BE49-F238E27FC236}">
                  <a16:creationId xmlns:a16="http://schemas.microsoft.com/office/drawing/2014/main" id="{AFC1F1BE-06F6-440A-84F8-2D99C006BD6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51520" y="1556792"/>
              <a:ext cx="2819400" cy="5588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zh-CN" altLang="en-US" sz="2400" b="1" dirty="0">
                  <a:solidFill>
                    <a:schemeClr val="bg1"/>
                  </a:solidFill>
                </a:rPr>
                <a:t>目标检测</a:t>
              </a:r>
              <a:endParaRPr lang="en-US" altLang="zh-CN" sz="2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8" name="矩形 7">
            <a:extLst>
              <a:ext uri="{FF2B5EF4-FFF2-40B4-BE49-F238E27FC236}">
                <a16:creationId xmlns:a16="http://schemas.microsoft.com/office/drawing/2014/main" id="{959F727D-95AF-4BDB-8628-8EEEA773318B}"/>
              </a:ext>
            </a:extLst>
          </p:cNvPr>
          <p:cNvSpPr/>
          <p:nvPr/>
        </p:nvSpPr>
        <p:spPr>
          <a:xfrm>
            <a:off x="2167992" y="1844824"/>
            <a:ext cx="9328608" cy="424847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">
            <a:extLst>
              <a:ext uri="{FF2B5EF4-FFF2-40B4-BE49-F238E27FC236}">
                <a16:creationId xmlns:a16="http://schemas.microsoft.com/office/drawing/2014/main" id="{A372BC88-C2BE-45BB-A079-0478B04E0C2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59896" y="3032256"/>
            <a:ext cx="3857625" cy="7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3600" dirty="0">
                <a:latin typeface="+mn-ea"/>
                <a:ea typeface="+mn-ea"/>
              </a:rPr>
              <a:t>1.B  2.A  3.D  </a:t>
            </a:r>
            <a:endParaRPr lang="zh-CN" altLang="en-US" sz="3600" dirty="0">
              <a:latin typeface="+mn-ea"/>
              <a:ea typeface="+mn-ea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025AFEF8-0C69-4F99-8FD3-388FCEE10D2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97" y="617714"/>
            <a:ext cx="1899806" cy="1320564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70A16D7-63A6-4827-BA4F-C833E9846E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9672" y="1003639"/>
            <a:ext cx="1635384" cy="1015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indent="266700"/>
            <a:r>
              <a:rPr lang="zh-CN" altLang="en-US" sz="3200" dirty="0">
                <a:latin typeface="+mj-ea"/>
                <a:ea typeface="+mj-ea"/>
                <a:cs typeface="Times New Roman" charset="0"/>
              </a:rPr>
              <a:t>答案</a:t>
            </a:r>
            <a:r>
              <a:rPr lang="zh-CN" altLang="en-US" sz="2800" b="1" dirty="0">
                <a:latin typeface="Times New Roman" charset="0"/>
                <a:cs typeface="Times New Roman" charset="0"/>
              </a:rPr>
              <a:t>：</a:t>
            </a:r>
            <a:endParaRPr lang="en-US" altLang="zh-CN" sz="2800" b="1" dirty="0"/>
          </a:p>
          <a:p>
            <a:pPr indent="266700" eaLnBrk="0" hangingPunct="0"/>
            <a:endParaRPr lang="zh-CN" altLang="en-US" sz="2800" b="1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89F78A5A-D2A7-45F8-8D88-8C9BD5BE1B9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3128" y="2924943"/>
            <a:ext cx="1008112" cy="1008112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内容占位符 2"/>
          <p:cNvSpPr>
            <a:spLocks noGrp="1"/>
          </p:cNvSpPr>
          <p:nvPr>
            <p:ph idx="1"/>
          </p:nvPr>
        </p:nvSpPr>
        <p:spPr>
          <a:xfrm>
            <a:off x="1631504" y="1268760"/>
            <a:ext cx="8531225" cy="4876800"/>
          </a:xfrm>
        </p:spPr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zh-CN" altLang="en-US" sz="2800" b="1" dirty="0">
                <a:solidFill>
                  <a:srgbClr val="000000"/>
                </a:solidFill>
                <a:latin typeface="+mn-ea"/>
              </a:rPr>
              <a:t>碳原子在周期表中位于</a:t>
            </a:r>
            <a:r>
              <a:rPr lang="zh-CN" altLang="en-US" sz="2800" b="1" dirty="0">
                <a:latin typeface="+mn-ea"/>
              </a:rPr>
              <a:t>第</a:t>
            </a:r>
            <a:r>
              <a:rPr lang="zh-CN" altLang="en-US" sz="2800" b="1" dirty="0">
                <a:solidFill>
                  <a:srgbClr val="FF0000"/>
                </a:solidFill>
                <a:latin typeface="+mn-ea"/>
              </a:rPr>
              <a:t>二</a:t>
            </a:r>
            <a:r>
              <a:rPr lang="zh-CN" altLang="en-US" sz="2800" b="1" dirty="0">
                <a:latin typeface="+mn-ea"/>
              </a:rPr>
              <a:t>周期，</a:t>
            </a:r>
            <a:r>
              <a:rPr lang="en-US" altLang="zh-CN" sz="2800" b="1" dirty="0">
                <a:solidFill>
                  <a:srgbClr val="FF0000"/>
                </a:solidFill>
                <a:latin typeface="+mn-ea"/>
              </a:rPr>
              <a:t>IVA</a:t>
            </a:r>
            <a:r>
              <a:rPr lang="zh-CN" altLang="en-US" sz="2800" b="1" dirty="0">
                <a:latin typeface="+mn-ea"/>
              </a:rPr>
              <a:t>族， 其成键</a:t>
            </a:r>
            <a:endParaRPr lang="en-US" altLang="zh-CN" sz="2800" b="1" dirty="0">
              <a:latin typeface="+mn-ea"/>
            </a:endParaRPr>
          </a:p>
          <a:p>
            <a:pPr eaLnBrk="1" hangingPunct="1">
              <a:spcBef>
                <a:spcPct val="50000"/>
              </a:spcBef>
              <a:buFont typeface="Arial" charset="0"/>
              <a:buNone/>
            </a:pPr>
            <a:r>
              <a:rPr lang="en-US" altLang="zh-CN" sz="2800" b="1" dirty="0">
                <a:latin typeface="+mn-ea"/>
              </a:rPr>
              <a:t> </a:t>
            </a:r>
            <a:r>
              <a:rPr lang="zh-CN" altLang="en-US" sz="2800" b="1" dirty="0">
                <a:latin typeface="+mn-ea"/>
              </a:rPr>
              <a:t>有何特点？</a:t>
            </a:r>
            <a:br>
              <a:rPr lang="zh-CN" altLang="en-US" sz="2800" b="1" dirty="0">
                <a:solidFill>
                  <a:srgbClr val="000000"/>
                </a:solidFill>
                <a:latin typeface="+mn-ea"/>
              </a:rPr>
            </a:br>
            <a:endParaRPr lang="zh-CN" altLang="en-US" sz="2800" b="1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16386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223792" y="2924944"/>
            <a:ext cx="3162300" cy="2514600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10734466" y="305486"/>
            <a:ext cx="1422466" cy="329167"/>
          </a:xfrm>
        </p:spPr>
        <p:txBody>
          <a:bodyPr/>
          <a:lstStyle/>
          <a:p>
            <a:fld id="{F19D29A0-8795-40D8-A6B7-A5E28AE86EFA}" type="slidenum">
              <a:rPr lang="zh-CN" altLang="en-US" smtClean="0"/>
              <a:pPr/>
              <a:t>16</a:t>
            </a:fld>
            <a:endParaRPr lang="zh-CN" altLang="en-US"/>
          </a:p>
        </p:txBody>
      </p:sp>
      <p:grpSp>
        <p:nvGrpSpPr>
          <p:cNvPr id="3" name="组合 2"/>
          <p:cNvGrpSpPr/>
          <p:nvPr/>
        </p:nvGrpSpPr>
        <p:grpSpPr>
          <a:xfrm>
            <a:off x="3218371" y="2349388"/>
            <a:ext cx="932057" cy="537542"/>
            <a:chOff x="2530019" y="2515458"/>
            <a:chExt cx="1152128" cy="664463"/>
          </a:xfrm>
        </p:grpSpPr>
        <p:sp>
          <p:nvSpPr>
            <p:cNvPr id="5" name="圆角矩形 14"/>
            <p:cNvSpPr/>
            <p:nvPr/>
          </p:nvSpPr>
          <p:spPr>
            <a:xfrm>
              <a:off x="2530019" y="2515458"/>
              <a:ext cx="1152128" cy="664463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6" tIns="34288" rIns="68576" bIns="34288"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椭圆 80"/>
            <p:cNvSpPr/>
            <p:nvPr/>
          </p:nvSpPr>
          <p:spPr bwMode="auto">
            <a:xfrm>
              <a:off x="2751115" y="2578521"/>
              <a:ext cx="709935" cy="520016"/>
            </a:xfrm>
            <a:prstGeom prst="ellipse">
              <a:avLst/>
            </a:prstGeom>
            <a:noFill/>
            <a:ln w="25400" cap="flat" cmpd="sng" algn="ctr">
              <a:noFill/>
              <a:prstDash val="solid"/>
            </a:ln>
            <a:effectLst>
              <a:innerShdw blurRad="63500" dist="25400" dir="18660000">
                <a:prstClr val="black">
                  <a:alpha val="35000"/>
                </a:prstClr>
              </a:innerShdw>
            </a:effectLst>
          </p:spPr>
          <p:txBody>
            <a:bodyPr lIns="51432" tIns="25716" rIns="51432" bIns="25716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3200" b="1" kern="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一</a:t>
              </a:r>
            </a:p>
          </p:txBody>
        </p:sp>
      </p:grpSp>
      <p:grpSp>
        <p:nvGrpSpPr>
          <p:cNvPr id="4" name="组合 17"/>
          <p:cNvGrpSpPr/>
          <p:nvPr/>
        </p:nvGrpSpPr>
        <p:grpSpPr>
          <a:xfrm>
            <a:off x="3218378" y="3750958"/>
            <a:ext cx="932057" cy="537542"/>
            <a:chOff x="2530019" y="2515458"/>
            <a:chExt cx="1152128" cy="664463"/>
          </a:xfrm>
        </p:grpSpPr>
        <p:sp>
          <p:nvSpPr>
            <p:cNvPr id="19" name="圆角矩形 14"/>
            <p:cNvSpPr/>
            <p:nvPr/>
          </p:nvSpPr>
          <p:spPr>
            <a:xfrm>
              <a:off x="2530019" y="2515458"/>
              <a:ext cx="1152128" cy="664463"/>
            </a:xfrm>
            <a:prstGeom prst="round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6" tIns="34288" rIns="68576" bIns="34288"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0" name="椭圆 80"/>
            <p:cNvSpPr/>
            <p:nvPr/>
          </p:nvSpPr>
          <p:spPr bwMode="auto">
            <a:xfrm>
              <a:off x="2751115" y="2578521"/>
              <a:ext cx="709935" cy="520016"/>
            </a:xfrm>
            <a:prstGeom prst="ellipse">
              <a:avLst/>
            </a:prstGeom>
            <a:noFill/>
            <a:ln w="25400" cap="flat" cmpd="sng" algn="ctr">
              <a:noFill/>
              <a:prstDash val="solid"/>
            </a:ln>
            <a:effectLst>
              <a:innerShdw blurRad="63500" dist="25400" dir="18660000">
                <a:prstClr val="black">
                  <a:alpha val="35000"/>
                </a:prstClr>
              </a:innerShdw>
            </a:effectLst>
          </p:spPr>
          <p:txBody>
            <a:bodyPr lIns="51432" tIns="25716" rIns="51432" bIns="25716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3200" b="1" kern="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二</a:t>
              </a:r>
            </a:p>
          </p:txBody>
        </p:sp>
      </p:grpSp>
      <p:sp>
        <p:nvSpPr>
          <p:cNvPr id="2" name="矩形 39"/>
          <p:cNvSpPr>
            <a:spLocks noChangeArrowheads="1"/>
          </p:cNvSpPr>
          <p:nvPr/>
        </p:nvSpPr>
        <p:spPr bwMode="auto">
          <a:xfrm>
            <a:off x="4693920" y="2157095"/>
            <a:ext cx="5137150" cy="80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  <a:spcBef>
                <a:spcPts val="565"/>
              </a:spcBef>
            </a:pPr>
            <a:r>
              <a:rPr lang="en-US" altLang="zh-CN" sz="3200" dirty="0">
                <a:latin typeface="+mn-ea"/>
                <a:ea typeface="+mn-ea"/>
                <a:cs typeface="宋体" panose="02010600030101010101" pitchFamily="2" charset="-122"/>
              </a:rPr>
              <a:t>【</a:t>
            </a:r>
            <a:r>
              <a:rPr lang="zh-CN" altLang="en-US" sz="3200" dirty="0">
                <a:latin typeface="黑体" pitchFamily="2" charset="-122"/>
                <a:ea typeface="黑体" pitchFamily="2" charset="-122"/>
              </a:rPr>
              <a:t>碳原子的成键特点</a:t>
            </a:r>
            <a:r>
              <a:rPr lang="en-US" altLang="zh-CN" sz="3200" dirty="0">
                <a:latin typeface="+mn-ea"/>
                <a:ea typeface="+mn-ea"/>
                <a:cs typeface="宋体" panose="02010600030101010101" pitchFamily="2" charset="-122"/>
              </a:rPr>
              <a:t>】</a:t>
            </a:r>
            <a:endParaRPr lang="zh-CN" altLang="en-US" sz="3200" dirty="0">
              <a:latin typeface="+mn-ea"/>
              <a:ea typeface="+mn-ea"/>
              <a:cs typeface="宋体" panose="02010600030101010101" pitchFamily="2" charset="-122"/>
            </a:endParaRPr>
          </a:p>
        </p:txBody>
      </p:sp>
      <p:sp>
        <p:nvSpPr>
          <p:cNvPr id="7" name="矩形 39"/>
          <p:cNvSpPr>
            <a:spLocks noChangeArrowheads="1"/>
          </p:cNvSpPr>
          <p:nvPr/>
        </p:nvSpPr>
        <p:spPr bwMode="auto">
          <a:xfrm>
            <a:off x="4693920" y="3555365"/>
            <a:ext cx="5273040" cy="80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  <a:spcBef>
                <a:spcPts val="565"/>
              </a:spcBef>
            </a:pPr>
            <a:r>
              <a:rPr lang="en-US" altLang="zh-CN" sz="3200" dirty="0">
                <a:latin typeface="+mn-ea"/>
                <a:ea typeface="+mn-ea"/>
                <a:cs typeface="宋体" panose="02010600030101010101" pitchFamily="2" charset="-122"/>
              </a:rPr>
              <a:t>【</a:t>
            </a:r>
            <a:r>
              <a:rPr lang="zh-CN" altLang="en-US" sz="3200" dirty="0">
                <a:latin typeface="黑体" pitchFamily="2" charset="-122"/>
                <a:ea typeface="黑体" pitchFamily="2" charset="-122"/>
              </a:rPr>
              <a:t>碳原子的杂化轨道</a:t>
            </a:r>
            <a:r>
              <a:rPr lang="en-US" altLang="zh-CN" sz="3200" dirty="0">
                <a:latin typeface="+mn-ea"/>
                <a:ea typeface="+mn-ea"/>
                <a:cs typeface="宋体" panose="02010600030101010101" pitchFamily="2" charset="-122"/>
              </a:rPr>
              <a:t>】</a:t>
            </a:r>
            <a:endParaRPr lang="zh-CN" altLang="en-US" sz="3200" dirty="0">
              <a:latin typeface="+mn-ea"/>
              <a:ea typeface="+mn-ea"/>
              <a:cs typeface="宋体" panose="02010600030101010101" pitchFamily="2" charset="-122"/>
            </a:endParaRPr>
          </a:p>
        </p:txBody>
      </p:sp>
      <p:sp>
        <p:nvSpPr>
          <p:cNvPr id="15" name="矩形 39"/>
          <p:cNvSpPr>
            <a:spLocks noChangeArrowheads="1"/>
          </p:cNvSpPr>
          <p:nvPr/>
        </p:nvSpPr>
        <p:spPr bwMode="auto">
          <a:xfrm>
            <a:off x="4727848" y="4709319"/>
            <a:ext cx="5273040" cy="80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  <a:spcBef>
                <a:spcPts val="565"/>
              </a:spcBef>
            </a:pPr>
            <a:r>
              <a:rPr lang="en-US" altLang="zh-CN" sz="3200" dirty="0">
                <a:latin typeface="+mn-ea"/>
                <a:ea typeface="+mn-ea"/>
                <a:cs typeface="宋体" panose="02010600030101010101" pitchFamily="2" charset="-122"/>
              </a:rPr>
              <a:t>【</a:t>
            </a:r>
            <a:r>
              <a:rPr lang="zh-CN" altLang="en-US" sz="3200" dirty="0">
                <a:latin typeface="黑体" pitchFamily="2" charset="-122"/>
                <a:ea typeface="黑体" pitchFamily="2" charset="-122"/>
              </a:rPr>
              <a:t>碳原子的成键方式</a:t>
            </a:r>
            <a:r>
              <a:rPr lang="en-US" altLang="zh-CN" sz="3200" dirty="0">
                <a:latin typeface="+mn-ea"/>
                <a:ea typeface="+mn-ea"/>
                <a:cs typeface="宋体" panose="02010600030101010101" pitchFamily="2" charset="-122"/>
              </a:rPr>
              <a:t>】</a:t>
            </a:r>
            <a:endParaRPr lang="zh-CN" altLang="en-US" sz="3200" dirty="0">
              <a:latin typeface="+mn-ea"/>
              <a:ea typeface="+mn-ea"/>
              <a:cs typeface="宋体" panose="02010600030101010101" pitchFamily="2" charset="-122"/>
            </a:endParaRPr>
          </a:p>
        </p:txBody>
      </p:sp>
      <p:grpSp>
        <p:nvGrpSpPr>
          <p:cNvPr id="16" name="组合 15"/>
          <p:cNvGrpSpPr/>
          <p:nvPr/>
        </p:nvGrpSpPr>
        <p:grpSpPr>
          <a:xfrm>
            <a:off x="3215680" y="4907682"/>
            <a:ext cx="932057" cy="537542"/>
            <a:chOff x="2530019" y="2515458"/>
            <a:chExt cx="1152128" cy="664463"/>
          </a:xfrm>
        </p:grpSpPr>
        <p:sp>
          <p:nvSpPr>
            <p:cNvPr id="17" name="圆角矩形 14"/>
            <p:cNvSpPr/>
            <p:nvPr/>
          </p:nvSpPr>
          <p:spPr>
            <a:xfrm>
              <a:off x="2530019" y="2515458"/>
              <a:ext cx="1152128" cy="664463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6" tIns="34288" rIns="68576" bIns="34288"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8" name="椭圆 80"/>
            <p:cNvSpPr/>
            <p:nvPr/>
          </p:nvSpPr>
          <p:spPr bwMode="auto">
            <a:xfrm>
              <a:off x="2751115" y="2578521"/>
              <a:ext cx="709935" cy="520016"/>
            </a:xfrm>
            <a:prstGeom prst="ellipse">
              <a:avLst/>
            </a:prstGeom>
            <a:noFill/>
            <a:ln w="25400" cap="flat" cmpd="sng" algn="ctr">
              <a:noFill/>
              <a:prstDash val="solid"/>
            </a:ln>
            <a:effectLst>
              <a:innerShdw blurRad="63500" dist="25400" dir="18660000">
                <a:prstClr val="black">
                  <a:alpha val="35000"/>
                </a:prstClr>
              </a:innerShdw>
            </a:effectLst>
          </p:spPr>
          <p:txBody>
            <a:bodyPr lIns="51432" tIns="25716" rIns="51432" bIns="25716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zh-CN" sz="3200" b="1" kern="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S</a:t>
              </a:r>
              <a:r>
                <a:rPr lang="zh-CN" altLang="en-US" sz="3200" b="1" kern="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三</a:t>
              </a:r>
              <a:r>
                <a:rPr lang="en-US" altLang="zh-CN" sz="3200" b="1" kern="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	</a:t>
              </a:r>
              <a:endParaRPr lang="zh-CN" altLang="en-US" sz="3200" b="1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7" grpId="0"/>
      <p:bldP spid="15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内容占位符 2"/>
          <p:cNvSpPr>
            <a:spLocks noGrp="1"/>
          </p:cNvSpPr>
          <p:nvPr>
            <p:ph idx="1"/>
          </p:nvPr>
        </p:nvSpPr>
        <p:spPr>
          <a:xfrm>
            <a:off x="1847528" y="1700808"/>
            <a:ext cx="8424936" cy="4876800"/>
          </a:xfrm>
        </p:spPr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zh-CN" altLang="en-US" sz="2800" dirty="0">
                <a:solidFill>
                  <a:srgbClr val="000000"/>
                </a:solidFill>
                <a:latin typeface="黑体" pitchFamily="49" charset="-122"/>
              </a:rPr>
              <a:t>碳原子最外层有 </a:t>
            </a:r>
            <a:r>
              <a:rPr lang="en-US" altLang="zh-CN" sz="2800" dirty="0">
                <a:solidFill>
                  <a:srgbClr val="FF0000"/>
                </a:solidFill>
                <a:latin typeface="黑体" pitchFamily="49" charset="-122"/>
              </a:rPr>
              <a:t>4 </a:t>
            </a:r>
            <a:r>
              <a:rPr lang="zh-CN" altLang="en-US" sz="2800" dirty="0">
                <a:solidFill>
                  <a:srgbClr val="000000"/>
                </a:solidFill>
                <a:latin typeface="黑体" pitchFamily="49" charset="-122"/>
              </a:rPr>
              <a:t>个电子，通过共用 </a:t>
            </a:r>
            <a:r>
              <a:rPr lang="en-US" altLang="zh-CN" sz="2800" dirty="0">
                <a:solidFill>
                  <a:srgbClr val="FF0000"/>
                </a:solidFill>
                <a:latin typeface="黑体" pitchFamily="49" charset="-122"/>
              </a:rPr>
              <a:t>4 </a:t>
            </a:r>
            <a:r>
              <a:rPr lang="zh-CN" altLang="en-US" sz="2800" dirty="0">
                <a:solidFill>
                  <a:srgbClr val="000000"/>
                </a:solidFill>
                <a:latin typeface="黑体" pitchFamily="49" charset="-122"/>
              </a:rPr>
              <a:t>对电子与</a:t>
            </a:r>
            <a:endParaRPr lang="en-US" altLang="zh-CN" sz="2800" dirty="0">
              <a:solidFill>
                <a:srgbClr val="000000"/>
              </a:solidFill>
              <a:latin typeface="黑体" pitchFamily="49" charset="-122"/>
            </a:endParaRPr>
          </a:p>
          <a:p>
            <a:pPr eaLnBrk="1" hangingPunct="1">
              <a:spcBef>
                <a:spcPct val="50000"/>
              </a:spcBef>
            </a:pPr>
            <a:r>
              <a:rPr lang="zh-CN" altLang="en-US" sz="2800" dirty="0">
                <a:solidFill>
                  <a:srgbClr val="000000"/>
                </a:solidFill>
                <a:latin typeface="黑体" pitchFamily="49" charset="-122"/>
              </a:rPr>
              <a:t>其他原子相结合形成共价键，显示 </a:t>
            </a:r>
            <a:r>
              <a:rPr lang="en-US" altLang="zh-CN" sz="2800" dirty="0">
                <a:solidFill>
                  <a:srgbClr val="FF0000"/>
                </a:solidFill>
                <a:latin typeface="黑体" pitchFamily="49" charset="-122"/>
              </a:rPr>
              <a:t>4 </a:t>
            </a:r>
            <a:r>
              <a:rPr lang="zh-CN" altLang="en-US" sz="2800" dirty="0">
                <a:solidFill>
                  <a:srgbClr val="000000"/>
                </a:solidFill>
                <a:latin typeface="黑体" pitchFamily="49" charset="-122"/>
              </a:rPr>
              <a:t>价。</a:t>
            </a:r>
            <a:br>
              <a:rPr lang="zh-CN" altLang="en-US" sz="2800" dirty="0">
                <a:solidFill>
                  <a:srgbClr val="000000"/>
                </a:solidFill>
                <a:latin typeface="黑体" pitchFamily="49" charset="-122"/>
              </a:rPr>
            </a:br>
            <a:endParaRPr lang="zh-CN" altLang="en-US" sz="2800" dirty="0">
              <a:solidFill>
                <a:srgbClr val="000000"/>
              </a:solidFill>
              <a:latin typeface="黑体" pitchFamily="49" charset="-122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83293" y="3235541"/>
            <a:ext cx="2232025" cy="2662237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5124" name="Picture 4" descr="E:\张韶虹\教学资料\资源库建设\图片\乙烷1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691205" y="3188975"/>
            <a:ext cx="3370957" cy="2740615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68633123-1E9D-4BA6-B0A0-C66EB4AABF90}"/>
              </a:ext>
            </a:extLst>
          </p:cNvPr>
          <p:cNvSpPr/>
          <p:nvPr/>
        </p:nvSpPr>
        <p:spPr>
          <a:xfrm>
            <a:off x="3751309" y="765735"/>
            <a:ext cx="4689379" cy="6265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5" tIns="34283" rIns="68565" bIns="34283" rtlCol="0" anchor="ctr"/>
          <a:lstStyle/>
          <a:p>
            <a:pPr algn="ctr"/>
            <a:r>
              <a:rPr lang="zh-CN" altLang="en-US" sz="3200" b="1" dirty="0">
                <a:latin typeface="+mj-ea"/>
                <a:ea typeface="+mj-ea"/>
              </a:rPr>
              <a:t>一、碳原子的成键特点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2" dur="500"/>
                                        <p:tgtEl>
                                          <p:spTgt spid="194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5" dur="500"/>
                                        <p:tgtEl>
                                          <p:spTgt spid="1945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6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7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8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9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0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1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2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3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4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5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6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7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8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49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0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1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7" name="Text Box 9"/>
          <p:cNvSpPr txBox="1">
            <a:spLocks noChangeArrowheads="1"/>
          </p:cNvSpPr>
          <p:nvPr/>
        </p:nvSpPr>
        <p:spPr bwMode="auto">
          <a:xfrm>
            <a:off x="2568968" y="4231481"/>
            <a:ext cx="477996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2400" b="1" dirty="0">
                <a:solidFill>
                  <a:srgbClr val="006600"/>
                </a:solidFill>
                <a:ea typeface="隶书"/>
                <a:cs typeface="隶书"/>
              </a:rPr>
              <a:t>原子轨道沿轨道的对称轴方向重叠</a:t>
            </a:r>
          </a:p>
        </p:txBody>
      </p:sp>
      <p:sp>
        <p:nvSpPr>
          <p:cNvPr id="130058" name="AutoShape 10"/>
          <p:cNvSpPr>
            <a:spLocks noChangeArrowheads="1"/>
          </p:cNvSpPr>
          <p:nvPr/>
        </p:nvSpPr>
        <p:spPr bwMode="auto">
          <a:xfrm>
            <a:off x="7466405" y="4447381"/>
            <a:ext cx="1066800" cy="152400"/>
          </a:xfrm>
          <a:prstGeom prst="rightArrow">
            <a:avLst>
              <a:gd name="adj1" fmla="val 50000"/>
              <a:gd name="adj2" fmla="val 17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zh-CN" altLang="zh-CN"/>
          </a:p>
        </p:txBody>
      </p:sp>
      <p:sp>
        <p:nvSpPr>
          <p:cNvPr id="130059" name="Text Box 11"/>
          <p:cNvSpPr txBox="1">
            <a:spLocks noChangeArrowheads="1"/>
          </p:cNvSpPr>
          <p:nvPr/>
        </p:nvSpPr>
        <p:spPr bwMode="auto">
          <a:xfrm>
            <a:off x="8690368" y="4231481"/>
            <a:ext cx="744114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zh-CN" sz="2800" b="1" dirty="0">
                <a:solidFill>
                  <a:srgbClr val="6633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隶书" pitchFamily="49" charset="-122"/>
                <a:sym typeface="Symbol" pitchFamily="18" charset="2"/>
              </a:rPr>
              <a:t>  </a:t>
            </a:r>
            <a:r>
              <a:rPr lang="zh-CN" altLang="en-US" sz="2800" b="1" dirty="0">
                <a:solidFill>
                  <a:srgbClr val="6633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隶书" pitchFamily="49" charset="-122"/>
                <a:sym typeface="Symbol" pitchFamily="18" charset="2"/>
              </a:rPr>
              <a:t>键</a:t>
            </a:r>
            <a:endParaRPr lang="zh-CN" altLang="en-US" dirty="0">
              <a:solidFill>
                <a:srgbClr val="663300"/>
              </a:solidFill>
              <a:effectLst>
                <a:outerShdw blurRad="38100" dist="38100" dir="2700000" algn="tl">
                  <a:srgbClr val="C0C0C0"/>
                </a:outerShdw>
              </a:effectLst>
              <a:ea typeface="隶书" pitchFamily="49" charset="-122"/>
            </a:endParaRPr>
          </a:p>
        </p:txBody>
      </p:sp>
      <p:sp>
        <p:nvSpPr>
          <p:cNvPr id="130060" name="Text Box 12"/>
          <p:cNvSpPr txBox="1">
            <a:spLocks noChangeArrowheads="1"/>
          </p:cNvSpPr>
          <p:nvPr/>
        </p:nvSpPr>
        <p:spPr bwMode="auto">
          <a:xfrm>
            <a:off x="2640405" y="5168106"/>
            <a:ext cx="37401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2400" b="1" dirty="0">
                <a:solidFill>
                  <a:srgbClr val="006600"/>
                </a:solidFill>
                <a:ea typeface="隶书"/>
                <a:cs typeface="隶书"/>
              </a:rPr>
              <a:t>两个平行的</a:t>
            </a:r>
            <a:r>
              <a:rPr lang="en-US" altLang="zh-CN" sz="2400" b="1" dirty="0">
                <a:solidFill>
                  <a:srgbClr val="006600"/>
                </a:solidFill>
                <a:ea typeface="隶书"/>
                <a:cs typeface="隶书"/>
              </a:rPr>
              <a:t>p</a:t>
            </a:r>
            <a:r>
              <a:rPr lang="zh-CN" altLang="en-US" sz="2400" b="1" dirty="0">
                <a:solidFill>
                  <a:srgbClr val="006600"/>
                </a:solidFill>
                <a:ea typeface="隶书"/>
                <a:cs typeface="隶书"/>
              </a:rPr>
              <a:t>轨道侧面交叠</a:t>
            </a:r>
          </a:p>
        </p:txBody>
      </p:sp>
      <p:sp>
        <p:nvSpPr>
          <p:cNvPr id="130061" name="AutoShape 13"/>
          <p:cNvSpPr>
            <a:spLocks noChangeArrowheads="1"/>
          </p:cNvSpPr>
          <p:nvPr/>
        </p:nvSpPr>
        <p:spPr bwMode="auto">
          <a:xfrm>
            <a:off x="7321943" y="5384006"/>
            <a:ext cx="1066800" cy="152400"/>
          </a:xfrm>
          <a:prstGeom prst="rightArrow">
            <a:avLst>
              <a:gd name="adj1" fmla="val 50000"/>
              <a:gd name="adj2" fmla="val 175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zh-CN" altLang="zh-CN"/>
          </a:p>
        </p:txBody>
      </p:sp>
      <p:sp>
        <p:nvSpPr>
          <p:cNvPr id="130062" name="Text Box 14"/>
          <p:cNvSpPr txBox="1">
            <a:spLocks noChangeArrowheads="1"/>
          </p:cNvSpPr>
          <p:nvPr/>
        </p:nvSpPr>
        <p:spPr bwMode="auto">
          <a:xfrm>
            <a:off x="8524892" y="5143512"/>
            <a:ext cx="1000595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zh-CN" dirty="0">
                <a:solidFill>
                  <a:srgbClr val="00FF00"/>
                </a:solidFill>
                <a:ea typeface="隶书" pitchFamily="49" charset="-122"/>
                <a:sym typeface="Symbol" pitchFamily="18" charset="2"/>
              </a:rPr>
              <a:t></a:t>
            </a:r>
            <a:r>
              <a:rPr lang="en-US" altLang="zh-CN" sz="2800" b="1" dirty="0">
                <a:solidFill>
                  <a:srgbClr val="6633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隶书" pitchFamily="49" charset="-122"/>
                <a:sym typeface="Symbol" pitchFamily="18" charset="2"/>
              </a:rPr>
              <a:t>   </a:t>
            </a:r>
            <a:r>
              <a:rPr lang="zh-CN" altLang="en-US" sz="2800" b="1" dirty="0">
                <a:solidFill>
                  <a:srgbClr val="6633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隶书" pitchFamily="49" charset="-122"/>
                <a:sym typeface="Symbol" pitchFamily="18" charset="2"/>
              </a:rPr>
              <a:t>键 </a:t>
            </a:r>
            <a:endParaRPr lang="zh-CN" altLang="en-US" dirty="0">
              <a:solidFill>
                <a:srgbClr val="663300"/>
              </a:solidFill>
              <a:effectLst>
                <a:outerShdw blurRad="38100" dist="38100" dir="2700000" algn="tl">
                  <a:srgbClr val="C0C0C0"/>
                </a:outerShdw>
              </a:effectLst>
              <a:ea typeface="隶书" pitchFamily="49" charset="-122"/>
            </a:endParaRPr>
          </a:p>
        </p:txBody>
      </p:sp>
      <p:sp>
        <p:nvSpPr>
          <p:cNvPr id="130063" name="AutoShape 15"/>
          <p:cNvSpPr>
            <a:spLocks/>
          </p:cNvSpPr>
          <p:nvPr/>
        </p:nvSpPr>
        <p:spPr bwMode="auto">
          <a:xfrm>
            <a:off x="2137168" y="4375944"/>
            <a:ext cx="381000" cy="1066800"/>
          </a:xfrm>
          <a:prstGeom prst="leftBrace">
            <a:avLst>
              <a:gd name="adj1" fmla="val 23333"/>
              <a:gd name="adj2" fmla="val 50000"/>
            </a:avLst>
          </a:prstGeom>
          <a:noFill/>
          <a:ln w="28575">
            <a:solidFill>
              <a:srgbClr val="6633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zh-CN" altLang="zh-CN"/>
          </a:p>
        </p:txBody>
      </p:sp>
      <p:sp>
        <p:nvSpPr>
          <p:cNvPr id="21513" name="内容占位符 2"/>
          <p:cNvSpPr>
            <a:spLocks/>
          </p:cNvSpPr>
          <p:nvPr/>
        </p:nvSpPr>
        <p:spPr bwMode="auto">
          <a:xfrm>
            <a:off x="473192" y="1739379"/>
            <a:ext cx="10972800" cy="2189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42888" indent="-242888">
              <a:spcBef>
                <a:spcPct val="50000"/>
              </a:spcBef>
              <a:buClr>
                <a:schemeClr val="accent1"/>
              </a:buClr>
              <a:buSzPct val="85000"/>
              <a:buFont typeface="Arial" charset="0"/>
              <a:buChar char="•"/>
            </a:pPr>
            <a:r>
              <a:rPr lang="zh-CN" altLang="en-US" sz="2800" dirty="0">
                <a:latin typeface="黑体" pitchFamily="49" charset="-122"/>
                <a:ea typeface="黑体" pitchFamily="49" charset="-122"/>
              </a:rPr>
              <a:t>由于成键时原子轨道重叠方式不同，</a:t>
            </a:r>
            <a:r>
              <a:rPr lang="zh-CN" altLang="en-US" sz="2800" dirty="0">
                <a:solidFill>
                  <a:srgbClr val="00B050"/>
                </a:solidFill>
                <a:latin typeface="黑体" pitchFamily="49" charset="-122"/>
                <a:ea typeface="黑体" pitchFamily="49" charset="-122"/>
              </a:rPr>
              <a:t>共价键可分为  键和</a:t>
            </a:r>
            <a:r>
              <a:rPr lang="en-US" altLang="zh-CN" sz="3200" b="1" dirty="0">
                <a:solidFill>
                  <a:srgbClr val="00B050"/>
                </a:solidFill>
                <a:latin typeface="黑体" pitchFamily="49" charset="-122"/>
                <a:ea typeface="黑体" pitchFamily="49" charset="-122"/>
              </a:rPr>
              <a:t>∏</a:t>
            </a:r>
            <a:r>
              <a:rPr lang="zh-CN" altLang="en-US" sz="2800" dirty="0">
                <a:solidFill>
                  <a:srgbClr val="00B050"/>
                </a:solidFill>
                <a:latin typeface="黑体" pitchFamily="49" charset="-122"/>
                <a:ea typeface="黑体" pitchFamily="49" charset="-122"/>
              </a:rPr>
              <a:t>键两种</a:t>
            </a:r>
            <a:r>
              <a:rPr lang="zh-CN" altLang="en-US" sz="2800" dirty="0">
                <a:latin typeface="黑体" pitchFamily="49" charset="-122"/>
                <a:ea typeface="黑体" pitchFamily="49" charset="-122"/>
              </a:rPr>
              <a:t>。</a:t>
            </a:r>
          </a:p>
          <a:p>
            <a:pPr marL="242888" indent="-242888">
              <a:spcBef>
                <a:spcPct val="50000"/>
              </a:spcBef>
              <a:buClr>
                <a:schemeClr val="accent1"/>
              </a:buClr>
              <a:buSzPct val="85000"/>
              <a:buFont typeface="Arial" charset="0"/>
              <a:buChar char="•"/>
            </a:pPr>
            <a:r>
              <a:rPr lang="en-US" altLang="zh-CN" sz="2800" dirty="0">
                <a:latin typeface="黑体" pitchFamily="49" charset="-122"/>
                <a:ea typeface="黑体" pitchFamily="49" charset="-122"/>
                <a:sym typeface="Symbol" pitchFamily="18" charset="2"/>
              </a:rPr>
              <a:t>  </a:t>
            </a:r>
            <a:r>
              <a:rPr lang="zh-CN" altLang="en-US" sz="2800" dirty="0">
                <a:latin typeface="黑体" pitchFamily="49" charset="-122"/>
                <a:ea typeface="黑体" pitchFamily="49" charset="-122"/>
              </a:rPr>
              <a:t>键</a:t>
            </a:r>
            <a:r>
              <a:rPr lang="en-US" altLang="zh-CN" sz="2800" dirty="0">
                <a:latin typeface="黑体" pitchFamily="49" charset="-122"/>
                <a:ea typeface="黑体" pitchFamily="49" charset="-122"/>
              </a:rPr>
              <a:t>-</a:t>
            </a:r>
            <a:r>
              <a:rPr lang="zh-CN" altLang="en-US" sz="2800" dirty="0">
                <a:latin typeface="黑体" pitchFamily="49" charset="-122"/>
                <a:ea typeface="黑体" pitchFamily="49" charset="-122"/>
              </a:rPr>
              <a:t>轨道沿着键轴方向“头碰头”重叠而形成的共价键。</a:t>
            </a:r>
          </a:p>
          <a:p>
            <a:pPr marL="242888" indent="-242888">
              <a:spcBef>
                <a:spcPct val="50000"/>
              </a:spcBef>
              <a:buClr>
                <a:schemeClr val="accent1"/>
              </a:buClr>
              <a:buSzPct val="85000"/>
              <a:buFont typeface="Arial" charset="0"/>
              <a:buChar char="•"/>
            </a:pPr>
            <a:r>
              <a:rPr lang="en-US" altLang="zh-CN" sz="2800" b="1" dirty="0">
                <a:latin typeface="黑体" pitchFamily="49" charset="-122"/>
                <a:ea typeface="黑体" pitchFamily="49" charset="-122"/>
              </a:rPr>
              <a:t>∏</a:t>
            </a:r>
            <a:r>
              <a:rPr lang="zh-CN" altLang="en-US" sz="2800" dirty="0">
                <a:latin typeface="黑体" pitchFamily="49" charset="-122"/>
                <a:ea typeface="黑体" pitchFamily="49" charset="-122"/>
              </a:rPr>
              <a:t>键</a:t>
            </a:r>
            <a:r>
              <a:rPr lang="en-US" altLang="zh-CN" sz="2800" dirty="0">
                <a:latin typeface="黑体" pitchFamily="49" charset="-122"/>
                <a:ea typeface="黑体" pitchFamily="49" charset="-122"/>
              </a:rPr>
              <a:t>-</a:t>
            </a:r>
            <a:r>
              <a:rPr lang="zh-CN" altLang="en-US" sz="2800" dirty="0">
                <a:latin typeface="黑体" pitchFamily="49" charset="-122"/>
                <a:ea typeface="黑体" pitchFamily="49" charset="-122"/>
              </a:rPr>
              <a:t>两个相互平行的</a:t>
            </a:r>
            <a:r>
              <a:rPr lang="en-US" altLang="zh-CN" sz="2800" dirty="0">
                <a:latin typeface="黑体" pitchFamily="49" charset="-122"/>
                <a:ea typeface="黑体" pitchFamily="49" charset="-122"/>
              </a:rPr>
              <a:t>P</a:t>
            </a:r>
            <a:r>
              <a:rPr lang="zh-CN" altLang="en-US" sz="2800" dirty="0">
                <a:latin typeface="黑体" pitchFamily="49" charset="-122"/>
                <a:ea typeface="黑体" pitchFamily="49" charset="-122"/>
              </a:rPr>
              <a:t>轨道“肩并肩”重叠而形成的共价键。</a:t>
            </a:r>
          </a:p>
          <a:p>
            <a:pPr marL="242888" indent="-242888">
              <a:spcBef>
                <a:spcPct val="20000"/>
              </a:spcBef>
              <a:buClr>
                <a:schemeClr val="accent1"/>
              </a:buClr>
              <a:buSzPct val="85000"/>
              <a:buFont typeface="Arial" charset="0"/>
              <a:buChar char="•"/>
            </a:pPr>
            <a:endParaRPr lang="zh-CN" altLang="en-US" sz="2800" b="1" dirty="0">
              <a:latin typeface="Franklin Gothic Book"/>
              <a:ea typeface="黑体" pitchFamily="49" charset="-122"/>
            </a:endParaRPr>
          </a:p>
        </p:txBody>
      </p:sp>
      <p:sp>
        <p:nvSpPr>
          <p:cNvPr id="12" name="Text Box 15">
            <a:extLst>
              <a:ext uri="{FF2B5EF4-FFF2-40B4-BE49-F238E27FC236}">
                <a16:creationId xmlns:a16="http://schemas.microsoft.com/office/drawing/2014/main" id="{901001AD-F7C3-4F58-944B-74C07BFB126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3967" y="597672"/>
            <a:ext cx="3170003" cy="633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3200" b="1" dirty="0">
                <a:latin typeface="+mj-ea"/>
                <a:ea typeface="+mj-ea"/>
              </a:rPr>
              <a:t>共价键的种类</a:t>
            </a:r>
            <a:endParaRPr lang="en-US" altLang="zh-CN" sz="3200" b="1" dirty="0">
              <a:latin typeface="+mj-ea"/>
              <a:ea typeface="+mj-ea"/>
            </a:endParaRPr>
          </a:p>
        </p:txBody>
      </p: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6940EC32-06AF-4020-9E07-4374E810A0CA}"/>
              </a:ext>
            </a:extLst>
          </p:cNvPr>
          <p:cNvGrpSpPr/>
          <p:nvPr/>
        </p:nvGrpSpPr>
        <p:grpSpPr>
          <a:xfrm>
            <a:off x="179514" y="620688"/>
            <a:ext cx="3973631" cy="587152"/>
            <a:chOff x="535865" y="609600"/>
            <a:chExt cx="3973631" cy="587152"/>
          </a:xfrm>
        </p:grpSpPr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4C05B541-24AF-47BB-8D09-9C04CD0A39CB}"/>
                </a:ext>
              </a:extLst>
            </p:cNvPr>
            <p:cNvSpPr/>
            <p:nvPr/>
          </p:nvSpPr>
          <p:spPr>
            <a:xfrm>
              <a:off x="1341144" y="609600"/>
              <a:ext cx="3168352" cy="587152"/>
            </a:xfrm>
            <a:prstGeom prst="rect">
              <a:avLst/>
            </a:prstGeom>
            <a:noFill/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4BB47F7F-CAAE-4FC5-97FC-203B47B856B0}"/>
                </a:ext>
              </a:extLst>
            </p:cNvPr>
            <p:cNvSpPr/>
            <p:nvPr/>
          </p:nvSpPr>
          <p:spPr>
            <a:xfrm>
              <a:off x="535865" y="609600"/>
              <a:ext cx="139571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" name="矩形 15">
              <a:extLst>
                <a:ext uri="{FF2B5EF4-FFF2-40B4-BE49-F238E27FC236}">
                  <a16:creationId xmlns:a16="http://schemas.microsoft.com/office/drawing/2014/main" id="{60019B49-1E20-422B-BF87-9A6EC9D9A443}"/>
                </a:ext>
              </a:extLst>
            </p:cNvPr>
            <p:cNvSpPr/>
            <p:nvPr/>
          </p:nvSpPr>
          <p:spPr>
            <a:xfrm>
              <a:off x="740061" y="609600"/>
              <a:ext cx="139571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7" name="矩形 16">
              <a:extLst>
                <a:ext uri="{FF2B5EF4-FFF2-40B4-BE49-F238E27FC236}">
                  <a16:creationId xmlns:a16="http://schemas.microsoft.com/office/drawing/2014/main" id="{91FF5539-D0F8-4CA8-96F5-BA896E612F95}"/>
                </a:ext>
              </a:extLst>
            </p:cNvPr>
            <p:cNvSpPr/>
            <p:nvPr/>
          </p:nvSpPr>
          <p:spPr>
            <a:xfrm>
              <a:off x="942606" y="609600"/>
              <a:ext cx="333913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667768" y="1857364"/>
            <a:ext cx="276225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38150" y="2571744"/>
            <a:ext cx="438150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8524892" y="4357694"/>
            <a:ext cx="438150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596330" y="5286388"/>
            <a:ext cx="2952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00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0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00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00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9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2" name="TYPE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00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0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300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300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19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2" name="TYPE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0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00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00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25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2" name="TYPE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00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0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300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300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35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2" name="TYPE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0057" grpId="0" autoUpdateAnimBg="0"/>
      <p:bldP spid="130058" grpId="0" animBg="1"/>
      <p:bldP spid="130059" grpId="0" autoUpdateAnimBg="0"/>
      <p:bldP spid="130060" grpId="0" autoUpdateAnimBg="0"/>
      <p:bldP spid="130061" grpId="0" animBg="1"/>
      <p:bldP spid="130062" grpId="0" autoUpdateAnimBg="0"/>
      <p:bldP spid="130063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idx="1"/>
          </p:nvPr>
        </p:nvSpPr>
        <p:spPr>
          <a:xfrm>
            <a:off x="954268" y="1767298"/>
            <a:ext cx="8610600" cy="6248400"/>
          </a:xfrm>
        </p:spPr>
        <p:txBody>
          <a:bodyPr/>
          <a:lstStyle/>
          <a:p>
            <a:pPr eaLnBrk="1" hangingPunct="1">
              <a:buFont typeface="Wingdings" pitchFamily="2" charset="2"/>
              <a:buNone/>
            </a:pPr>
            <a:r>
              <a:rPr lang="zh-CN" altLang="en-US" sz="2800" b="1" dirty="0">
                <a:latin typeface="黑体" pitchFamily="49" charset="-122"/>
                <a:ea typeface="华文中宋"/>
                <a:cs typeface="华文中宋"/>
              </a:rPr>
              <a:t>可以单独存在</a:t>
            </a:r>
          </a:p>
          <a:p>
            <a:pPr eaLnBrk="1" hangingPunct="1">
              <a:buFont typeface="Wingdings" pitchFamily="2" charset="2"/>
              <a:buNone/>
            </a:pPr>
            <a:r>
              <a:rPr lang="zh-CN" altLang="en-US" sz="2800" b="1" dirty="0">
                <a:latin typeface="黑体" pitchFamily="49" charset="-122"/>
              </a:rPr>
              <a:t>成键电子云呈圆柱型对称</a:t>
            </a:r>
            <a:r>
              <a:rPr lang="en-US" altLang="zh-CN" sz="2800" b="1" dirty="0">
                <a:latin typeface="黑体" pitchFamily="49" charset="-122"/>
              </a:rPr>
              <a:t>;</a:t>
            </a:r>
          </a:p>
          <a:p>
            <a:pPr eaLnBrk="1" hangingPunct="1">
              <a:buFont typeface="Wingdings" pitchFamily="2" charset="2"/>
              <a:buNone/>
            </a:pPr>
            <a:r>
              <a:rPr lang="zh-CN" altLang="en-US" sz="2800" b="1" dirty="0">
                <a:latin typeface="黑体" pitchFamily="49" charset="-122"/>
              </a:rPr>
              <a:t>成键的两个原子可以沿键轴自由旋转</a:t>
            </a:r>
            <a:r>
              <a:rPr lang="en-US" altLang="zh-CN" sz="2800" b="1" dirty="0">
                <a:latin typeface="黑体" pitchFamily="49" charset="-122"/>
              </a:rPr>
              <a:t>;</a:t>
            </a:r>
          </a:p>
          <a:p>
            <a:pPr eaLnBrk="1" hangingPunct="1">
              <a:buFont typeface="Wingdings" pitchFamily="2" charset="2"/>
              <a:buNone/>
            </a:pPr>
            <a:r>
              <a:rPr lang="zh-CN" altLang="en-US" sz="2800" b="1" dirty="0">
                <a:latin typeface="黑体" pitchFamily="49" charset="-122"/>
              </a:rPr>
              <a:t>较稳定，不易断裂</a:t>
            </a:r>
            <a:endParaRPr lang="zh-CN" altLang="en-US" sz="3600" b="1" dirty="0">
              <a:latin typeface="华文中宋"/>
              <a:ea typeface="华文中宋"/>
              <a:cs typeface="华文中宋"/>
            </a:endParaRPr>
          </a:p>
          <a:p>
            <a:pPr eaLnBrk="1" hangingPunct="1">
              <a:buFont typeface="Wingdings" pitchFamily="2" charset="2"/>
              <a:buNone/>
            </a:pPr>
            <a:endParaRPr lang="zh-CN" altLang="en-US" b="1" dirty="0">
              <a:latin typeface="华文中宋"/>
              <a:ea typeface="华文中宋"/>
              <a:cs typeface="华文中宋"/>
            </a:endParaRPr>
          </a:p>
          <a:p>
            <a:pPr eaLnBrk="1" hangingPunct="1">
              <a:buFont typeface="Wingdings" pitchFamily="2" charset="2"/>
              <a:buNone/>
            </a:pPr>
            <a:endParaRPr lang="en-US" altLang="zh-CN" dirty="0">
              <a:latin typeface="华文中宋"/>
              <a:ea typeface="华文中宋"/>
              <a:cs typeface="华文中宋"/>
            </a:endParaRPr>
          </a:p>
        </p:txBody>
      </p:sp>
      <p:graphicFrame>
        <p:nvGraphicFramePr>
          <p:cNvPr id="1026" name="Object 2"/>
          <p:cNvGraphicFramePr>
            <a:graphicFrameLocks noChangeAspect="1"/>
          </p:cNvGraphicFramePr>
          <p:nvPr/>
        </p:nvGraphicFramePr>
        <p:xfrm>
          <a:off x="4007768" y="3900898"/>
          <a:ext cx="7529513" cy="2414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ISIS/Draw Sketch" r:id="rId3" imgW="32042100" imgH="10325100" progId="">
                  <p:embed/>
                </p:oleObj>
              </mc:Choice>
              <mc:Fallback>
                <p:oleObj name="ISIS/Draw Sketch" r:id="rId3" imgW="32042100" imgH="10325100" progId="">
                  <p:embed/>
                  <p:pic>
                    <p:nvPicPr>
                      <p:cNvPr id="1026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007768" y="3900898"/>
                        <a:ext cx="7529513" cy="2414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ext Box 4"/>
          <p:cNvSpPr txBox="1">
            <a:spLocks noChangeArrowheads="1"/>
          </p:cNvSpPr>
          <p:nvPr/>
        </p:nvSpPr>
        <p:spPr bwMode="auto">
          <a:xfrm>
            <a:off x="5074568" y="3443698"/>
            <a:ext cx="482600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2800" b="1" i="1"/>
              <a:t>p</a:t>
            </a:r>
            <a:r>
              <a:rPr lang="en-US" altLang="zh-CN" sz="2800" b="1" baseline="-25000"/>
              <a:t>x</a:t>
            </a:r>
          </a:p>
        </p:txBody>
      </p:sp>
      <p:sp>
        <p:nvSpPr>
          <p:cNvPr id="1029" name="Text Box 5"/>
          <p:cNvSpPr txBox="1">
            <a:spLocks noChangeArrowheads="1"/>
          </p:cNvSpPr>
          <p:nvPr/>
        </p:nvSpPr>
        <p:spPr bwMode="auto">
          <a:xfrm>
            <a:off x="7360568" y="3443698"/>
            <a:ext cx="350838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2800" b="1" dirty="0"/>
              <a:t>s</a:t>
            </a:r>
          </a:p>
        </p:txBody>
      </p:sp>
      <p:sp>
        <p:nvSpPr>
          <p:cNvPr id="1030" name="Text Box 6"/>
          <p:cNvSpPr txBox="1">
            <a:spLocks noChangeArrowheads="1"/>
          </p:cNvSpPr>
          <p:nvPr/>
        </p:nvSpPr>
        <p:spPr bwMode="auto">
          <a:xfrm>
            <a:off x="5074568" y="4891498"/>
            <a:ext cx="482600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2800" b="1" i="1"/>
              <a:t>p</a:t>
            </a:r>
            <a:r>
              <a:rPr lang="en-US" altLang="zh-CN" sz="2800" b="1" baseline="-25000"/>
              <a:t>x</a:t>
            </a:r>
          </a:p>
        </p:txBody>
      </p:sp>
      <p:sp>
        <p:nvSpPr>
          <p:cNvPr id="1031" name="Text Box 7"/>
          <p:cNvSpPr txBox="1">
            <a:spLocks noChangeArrowheads="1"/>
          </p:cNvSpPr>
          <p:nvPr/>
        </p:nvSpPr>
        <p:spPr bwMode="auto">
          <a:xfrm>
            <a:off x="6827168" y="4891498"/>
            <a:ext cx="482600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2800" b="1" i="1"/>
              <a:t>p</a:t>
            </a:r>
            <a:r>
              <a:rPr lang="en-US" altLang="zh-CN" sz="2800" b="1" baseline="-25000"/>
              <a:t>x</a:t>
            </a:r>
          </a:p>
        </p:txBody>
      </p:sp>
      <p:sp>
        <p:nvSpPr>
          <p:cNvPr id="9" name="Text Box 15">
            <a:extLst>
              <a:ext uri="{FF2B5EF4-FFF2-40B4-BE49-F238E27FC236}">
                <a16:creationId xmlns:a16="http://schemas.microsoft.com/office/drawing/2014/main" id="{C7C29A54-8654-4FE7-A37D-A83D49C1D61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3142" y="543271"/>
            <a:ext cx="3170003" cy="690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3200" dirty="0">
                <a:latin typeface="华文中宋"/>
                <a:ea typeface="华文中宋"/>
                <a:cs typeface="华文中宋"/>
              </a:rPr>
              <a:t> </a:t>
            </a:r>
            <a:r>
              <a:rPr lang="zh-CN" altLang="en-US" sz="3200" b="1" dirty="0">
                <a:latin typeface="+mj-ea"/>
                <a:ea typeface="+mj-ea"/>
              </a:rPr>
              <a:t>键特征</a:t>
            </a:r>
            <a:endParaRPr lang="en-US" altLang="zh-CN" sz="3200" b="1" dirty="0">
              <a:latin typeface="+mj-ea"/>
              <a:ea typeface="+mj-ea"/>
            </a:endParaRPr>
          </a:p>
        </p:txBody>
      </p:sp>
      <p:grpSp>
        <p:nvGrpSpPr>
          <p:cNvPr id="10" name="组合 9">
            <a:extLst>
              <a:ext uri="{FF2B5EF4-FFF2-40B4-BE49-F238E27FC236}">
                <a16:creationId xmlns:a16="http://schemas.microsoft.com/office/drawing/2014/main" id="{F04E6EF6-BA25-4E5F-9C27-2868C5138804}"/>
              </a:ext>
            </a:extLst>
          </p:cNvPr>
          <p:cNvGrpSpPr/>
          <p:nvPr/>
        </p:nvGrpSpPr>
        <p:grpSpPr>
          <a:xfrm>
            <a:off x="179514" y="620688"/>
            <a:ext cx="3973631" cy="587152"/>
            <a:chOff x="535865" y="609600"/>
            <a:chExt cx="3973631" cy="587152"/>
          </a:xfrm>
        </p:grpSpPr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7BA02188-F2C4-41C9-BBC2-B9BFB9A44A8F}"/>
                </a:ext>
              </a:extLst>
            </p:cNvPr>
            <p:cNvSpPr/>
            <p:nvPr/>
          </p:nvSpPr>
          <p:spPr>
            <a:xfrm>
              <a:off x="1341144" y="609600"/>
              <a:ext cx="3168352" cy="587152"/>
            </a:xfrm>
            <a:prstGeom prst="rect">
              <a:avLst/>
            </a:prstGeom>
            <a:noFill/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F8317644-30A4-45BA-BEFD-F5411B21C248}"/>
                </a:ext>
              </a:extLst>
            </p:cNvPr>
            <p:cNvSpPr/>
            <p:nvPr/>
          </p:nvSpPr>
          <p:spPr>
            <a:xfrm>
              <a:off x="535865" y="609600"/>
              <a:ext cx="139571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C0356606-FD8D-4908-868C-84069023FB2C}"/>
                </a:ext>
              </a:extLst>
            </p:cNvPr>
            <p:cNvSpPr/>
            <p:nvPr/>
          </p:nvSpPr>
          <p:spPr>
            <a:xfrm>
              <a:off x="740061" y="609600"/>
              <a:ext cx="139571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3A5C0EB1-DC23-4892-BCDC-6409BEEAB858}"/>
                </a:ext>
              </a:extLst>
            </p:cNvPr>
            <p:cNvSpPr/>
            <p:nvPr/>
          </p:nvSpPr>
          <p:spPr>
            <a:xfrm>
              <a:off x="942606" y="609600"/>
              <a:ext cx="333913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2" name="Picture 6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452530" y="714356"/>
            <a:ext cx="504827" cy="375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192721" y="1026124"/>
            <a:ext cx="10943841" cy="4763695"/>
            <a:chOff x="1250177" y="1676467"/>
            <a:chExt cx="10094191" cy="4357281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1250177" y="1676467"/>
              <a:ext cx="10094191" cy="4357281"/>
              <a:chOff x="1649475" y="1676467"/>
              <a:chExt cx="9701740" cy="4357281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3" y="2030132"/>
                <a:ext cx="7529022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0" marR="0" lvl="0" indent="0" algn="l" defTabSz="457200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sym typeface="+mn-lt"/>
                  </a:rPr>
                  <a:t>1.</a:t>
                </a:r>
                <a:r>
                  <a:rPr kumimoji="0" lang="zh-CN" altLang="en-US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sym typeface="+mn-lt"/>
                  </a:rPr>
                  <a:t>掌握：有机物和有机化学概念；碳原子结构特征；共价键类型。</a:t>
                </a:r>
                <a:r>
                  <a:rPr kumimoji="0" lang="en-US" altLang="zh-CN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sym typeface="+mn-lt"/>
                  </a:rPr>
                  <a:t>2.</a:t>
                </a:r>
                <a:r>
                  <a:rPr kumimoji="0" lang="zh-CN" altLang="en-US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sym typeface="+mn-lt"/>
                  </a:rPr>
                  <a:t>熟悉：有机物的特征、分类；共价键断裂方式及有机反应类型；系统命名法原则；核外电子运动状态。</a:t>
                </a:r>
                <a:endParaRPr kumimoji="0" lang="en-US" altLang="zh-CN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sym typeface="+mn-lt"/>
                </a:endParaRPr>
              </a:p>
              <a:p>
                <a:pPr marL="0" marR="0" lvl="0" indent="0" algn="l" defTabSz="457200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sym typeface="+mn-lt"/>
                  </a:rPr>
                  <a:t>3.</a:t>
                </a:r>
                <a:r>
                  <a:rPr kumimoji="0" lang="zh-CN" altLang="en-US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sym typeface="+mn-lt"/>
                  </a:rPr>
                  <a:t>了解：核外电子的排布规则；电子效应；杂化轨道。</a:t>
                </a:r>
                <a:endParaRPr kumimoji="0" lang="en-US" altLang="zh-CN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sym typeface="+mn-lt"/>
                </a:endParaRPr>
              </a:p>
              <a:p>
                <a:pPr marL="0" marR="0" lvl="0" indent="0" algn="l" defTabSz="457200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sym typeface="+mn-lt"/>
                  </a:rPr>
                  <a:t>4.</a:t>
                </a:r>
                <a:r>
                  <a:rPr kumimoji="0" lang="zh-CN" altLang="en-US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sym typeface="+mn-lt"/>
                  </a:rPr>
                  <a:t>能力要求：理解单键、双键成键特征。</a:t>
                </a:r>
                <a:endParaRPr kumimoji="0" lang="en-US" altLang="zh-CN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sym typeface="+mn-lt"/>
                </a:endParaRPr>
              </a:p>
              <a:p>
                <a:pPr marL="0" marR="0" lvl="0" indent="0" algn="l" defTabSz="457200" rtl="0" eaLnBrk="1" fontAlgn="auto" latinLnBrk="0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sym typeface="+mn-lt"/>
                  </a:rPr>
                  <a:t>5.</a:t>
                </a:r>
                <a:r>
                  <a:rPr kumimoji="0" lang="zh-CN" altLang="en-US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sym typeface="+mn-lt"/>
                  </a:rPr>
                  <a:t>素质要求：对有机化学基础知识的理解能力迁移到各类有机物中。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2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zh-CN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"/>
                  <a:ea typeface="微软雅黑" panose="020B0503020204020204" pitchFamily="34" charset="-122"/>
                  <a:sym typeface="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649475" y="1676467"/>
                <a:ext cx="1984761" cy="57840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3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61CE"/>
                    </a:solidFill>
                    <a:effectLst/>
                    <a:uLnTx/>
                    <a:uFillTx/>
                    <a:latin typeface=""/>
                    <a:ea typeface="微软雅黑" panose="020B0503020204020204" pitchFamily="34" charset="-122"/>
                    <a:cs typeface="+mn-ea"/>
                    <a:sym typeface=""/>
                  </a:rPr>
                  <a:t>学习目标</a:t>
                </a:r>
                <a:endParaRPr kumimoji="0" lang="tr-TR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61CE"/>
                  </a:solidFill>
                  <a:effectLst/>
                  <a:uLnTx/>
                  <a:uFillTx/>
                  <a:latin typeface=""/>
                  <a:ea typeface="微软雅黑" panose="020B0503020204020204" pitchFamily="34" charset="-122"/>
                  <a:cs typeface="+mn-ea"/>
                  <a:sym typeface="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"/>
                <a:ea typeface="微软雅黑" panose="020B0503020204020204" pitchFamily="34" charset="-122"/>
                <a:cs typeface="+mn-ea"/>
                <a:sym typeface="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6583569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4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>
              <a:buFont typeface="Wingdings" pitchFamily="2" charset="2"/>
              <a:buNone/>
            </a:pPr>
            <a:endParaRPr lang="en-US" altLang="zh-CN">
              <a:latin typeface="华文中宋"/>
              <a:ea typeface="华文中宋"/>
              <a:cs typeface="华文中宋"/>
            </a:endParaRPr>
          </a:p>
          <a:p>
            <a:pPr eaLnBrk="1" hangingPunct="1">
              <a:buFont typeface="Wingdings" pitchFamily="2" charset="2"/>
              <a:buNone/>
            </a:pPr>
            <a:endParaRPr lang="en-US" altLang="zh-CN">
              <a:latin typeface="华文中宋"/>
              <a:ea typeface="华文中宋"/>
              <a:cs typeface="华文中宋"/>
            </a:endParaRPr>
          </a:p>
        </p:txBody>
      </p:sp>
      <p:graphicFrame>
        <p:nvGraphicFramePr>
          <p:cNvPr id="20482" name="Object 2"/>
          <p:cNvGraphicFramePr>
            <a:graphicFrameLocks noChangeAspect="1"/>
          </p:cNvGraphicFramePr>
          <p:nvPr/>
        </p:nvGraphicFramePr>
        <p:xfrm>
          <a:off x="2568143" y="1988840"/>
          <a:ext cx="7429500" cy="3048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ISIS/Draw Sketch" r:id="rId3" imgW="29136975" imgH="9934575" progId="">
                  <p:embed/>
                </p:oleObj>
              </mc:Choice>
              <mc:Fallback>
                <p:oleObj name="ISIS/Draw Sketch" r:id="rId3" imgW="29136975" imgH="9934575" progId="">
                  <p:embed/>
                  <p:pic>
                    <p:nvPicPr>
                      <p:cNvPr id="20482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68143" y="1988840"/>
                        <a:ext cx="7429500" cy="30480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5" name="Text Box 5"/>
          <p:cNvSpPr txBox="1">
            <a:spLocks noChangeArrowheads="1"/>
          </p:cNvSpPr>
          <p:nvPr/>
        </p:nvSpPr>
        <p:spPr bwMode="auto">
          <a:xfrm>
            <a:off x="2857068" y="5001915"/>
            <a:ext cx="369888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b="1" i="1"/>
              <a:t>p</a:t>
            </a:r>
            <a:r>
              <a:rPr lang="en-US" altLang="zh-CN" b="1" i="1" baseline="-25000"/>
              <a:t>y</a:t>
            </a:r>
          </a:p>
        </p:txBody>
      </p:sp>
      <p:sp>
        <p:nvSpPr>
          <p:cNvPr id="20486" name="Text Box 6"/>
          <p:cNvSpPr txBox="1">
            <a:spLocks noChangeArrowheads="1"/>
          </p:cNvSpPr>
          <p:nvPr/>
        </p:nvSpPr>
        <p:spPr bwMode="auto">
          <a:xfrm>
            <a:off x="4579506" y="4960640"/>
            <a:ext cx="369887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b="1" i="1"/>
              <a:t>p</a:t>
            </a:r>
            <a:r>
              <a:rPr lang="en-US" altLang="zh-CN" b="1" i="1" baseline="-25000"/>
              <a:t>y</a:t>
            </a:r>
          </a:p>
        </p:txBody>
      </p:sp>
      <p:sp>
        <p:nvSpPr>
          <p:cNvPr id="8" name="Text Box 15">
            <a:extLst>
              <a:ext uri="{FF2B5EF4-FFF2-40B4-BE49-F238E27FC236}">
                <a16:creationId xmlns:a16="http://schemas.microsoft.com/office/drawing/2014/main" id="{99D7EA0A-3A37-4408-96C4-1BAE8C29FC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3142" y="597703"/>
            <a:ext cx="3170003" cy="6331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3200" dirty="0">
                <a:latin typeface="方正藏体简体" panose="02000000000000000000" pitchFamily="2" charset="-122"/>
                <a:ea typeface="方正藏体简体" panose="02000000000000000000" pitchFamily="2" charset="-122"/>
                <a:cs typeface="华文中宋"/>
              </a:rPr>
              <a:t>π</a:t>
            </a:r>
            <a:r>
              <a:rPr lang="zh-CN" altLang="en-US" sz="3200" b="1" dirty="0">
                <a:latin typeface="+mj-ea"/>
                <a:ea typeface="+mj-ea"/>
              </a:rPr>
              <a:t>键特征</a:t>
            </a:r>
            <a:endParaRPr lang="en-US" altLang="zh-CN" sz="3200" b="1" dirty="0">
              <a:latin typeface="+mj-ea"/>
              <a:ea typeface="+mj-ea"/>
            </a:endParaRP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23B96EFE-D5BC-4983-8C3C-CB34079EFBF0}"/>
              </a:ext>
            </a:extLst>
          </p:cNvPr>
          <p:cNvGrpSpPr/>
          <p:nvPr/>
        </p:nvGrpSpPr>
        <p:grpSpPr>
          <a:xfrm>
            <a:off x="179514" y="620688"/>
            <a:ext cx="3973631" cy="587152"/>
            <a:chOff x="535865" y="609600"/>
            <a:chExt cx="3973631" cy="587152"/>
          </a:xfrm>
        </p:grpSpPr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2A85CA70-6C77-4586-B42D-BF0B473315C8}"/>
                </a:ext>
              </a:extLst>
            </p:cNvPr>
            <p:cNvSpPr/>
            <p:nvPr/>
          </p:nvSpPr>
          <p:spPr>
            <a:xfrm>
              <a:off x="1341144" y="609600"/>
              <a:ext cx="3168352" cy="587152"/>
            </a:xfrm>
            <a:prstGeom prst="rect">
              <a:avLst/>
            </a:prstGeom>
            <a:noFill/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788CAFF0-5CD4-44D7-B13B-5A697DBD6774}"/>
                </a:ext>
              </a:extLst>
            </p:cNvPr>
            <p:cNvSpPr/>
            <p:nvPr/>
          </p:nvSpPr>
          <p:spPr>
            <a:xfrm>
              <a:off x="535865" y="609600"/>
              <a:ext cx="139571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F974F847-4707-4DE0-940A-CDD28E494158}"/>
                </a:ext>
              </a:extLst>
            </p:cNvPr>
            <p:cNvSpPr/>
            <p:nvPr/>
          </p:nvSpPr>
          <p:spPr>
            <a:xfrm>
              <a:off x="740061" y="609600"/>
              <a:ext cx="139571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108A3039-E7ED-4656-A7A1-1CDE186DFED5}"/>
                </a:ext>
              </a:extLst>
            </p:cNvPr>
            <p:cNvSpPr/>
            <p:nvPr/>
          </p:nvSpPr>
          <p:spPr>
            <a:xfrm>
              <a:off x="942606" y="609600"/>
              <a:ext cx="333913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3"/>
          <p:cNvSpPr>
            <a:spLocks noGrp="1" noChangeArrowheads="1"/>
          </p:cNvSpPr>
          <p:nvPr>
            <p:ph idx="1"/>
          </p:nvPr>
        </p:nvSpPr>
        <p:spPr>
          <a:xfrm>
            <a:off x="2711624" y="2318288"/>
            <a:ext cx="8382000" cy="5029200"/>
          </a:xfrm>
        </p:spPr>
        <p:txBody>
          <a:bodyPr/>
          <a:lstStyle/>
          <a:p>
            <a:pPr eaLnBrk="1" hangingPunct="1">
              <a:lnSpc>
                <a:spcPct val="125000"/>
              </a:lnSpc>
            </a:pPr>
            <a:r>
              <a:rPr lang="en-US" altLang="zh-CN" sz="2800" b="1" dirty="0">
                <a:latin typeface="宋体" charset="-122"/>
                <a:ea typeface="宋体" charset="-122"/>
              </a:rPr>
              <a:t>π</a:t>
            </a:r>
            <a:r>
              <a:rPr lang="zh-CN" altLang="en-US" sz="2800" b="1" dirty="0">
                <a:latin typeface="黑体" pitchFamily="49" charset="-122"/>
              </a:rPr>
              <a:t>键不能单独存在</a:t>
            </a:r>
          </a:p>
          <a:p>
            <a:pPr eaLnBrk="1" hangingPunct="1">
              <a:lnSpc>
                <a:spcPct val="125000"/>
              </a:lnSpc>
            </a:pPr>
            <a:r>
              <a:rPr lang="zh-CN" altLang="en-US" sz="2800" b="1" dirty="0">
                <a:latin typeface="黑体" pitchFamily="49" charset="-122"/>
              </a:rPr>
              <a:t>电子云沿键轴上下分布</a:t>
            </a:r>
            <a:endParaRPr lang="en-US" altLang="zh-CN" sz="2800" b="1" dirty="0">
              <a:latin typeface="黑体" pitchFamily="49" charset="-122"/>
            </a:endParaRPr>
          </a:p>
          <a:p>
            <a:pPr eaLnBrk="1" hangingPunct="1">
              <a:lnSpc>
                <a:spcPct val="125000"/>
              </a:lnSpc>
            </a:pPr>
            <a:r>
              <a:rPr lang="zh-CN" altLang="en-US" sz="2800" b="1" dirty="0">
                <a:latin typeface="黑体" pitchFamily="49" charset="-122"/>
              </a:rPr>
              <a:t>成键的两个原子不可沿键轴自由旋转</a:t>
            </a:r>
          </a:p>
          <a:p>
            <a:pPr eaLnBrk="1" hangingPunct="1">
              <a:lnSpc>
                <a:spcPct val="125000"/>
              </a:lnSpc>
            </a:pPr>
            <a:r>
              <a:rPr lang="zh-CN" altLang="en-US" sz="2800" b="1" dirty="0">
                <a:latin typeface="黑体" pitchFamily="49" charset="-122"/>
              </a:rPr>
              <a:t>不稳定，容易断裂</a:t>
            </a:r>
            <a:endParaRPr lang="en-US" altLang="zh-CN" sz="2800" b="1" dirty="0">
              <a:latin typeface="黑体" pitchFamily="49" charset="-122"/>
            </a:endParaRPr>
          </a:p>
        </p:txBody>
      </p:sp>
      <p:sp>
        <p:nvSpPr>
          <p:cNvPr id="7" name="Text Box 15">
            <a:extLst>
              <a:ext uri="{FF2B5EF4-FFF2-40B4-BE49-F238E27FC236}">
                <a16:creationId xmlns:a16="http://schemas.microsoft.com/office/drawing/2014/main" id="{45EAFF58-250C-4714-82FE-7E9B8F3DBB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3142" y="597703"/>
            <a:ext cx="3170003" cy="6331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3200" dirty="0">
                <a:latin typeface="方正藏体简体" panose="02000000000000000000" pitchFamily="2" charset="-122"/>
                <a:ea typeface="方正藏体简体" panose="02000000000000000000" pitchFamily="2" charset="-122"/>
                <a:cs typeface="华文中宋"/>
              </a:rPr>
              <a:t>π</a:t>
            </a:r>
            <a:r>
              <a:rPr lang="zh-CN" altLang="en-US" sz="3200" b="1" dirty="0">
                <a:latin typeface="+mj-ea"/>
                <a:ea typeface="+mj-ea"/>
              </a:rPr>
              <a:t>键特征</a:t>
            </a:r>
            <a:endParaRPr lang="en-US" altLang="zh-CN" sz="3200" b="1" dirty="0">
              <a:latin typeface="+mj-ea"/>
              <a:ea typeface="+mj-ea"/>
            </a:endParaRPr>
          </a:p>
        </p:txBody>
      </p:sp>
      <p:grpSp>
        <p:nvGrpSpPr>
          <p:cNvPr id="8" name="组合 7">
            <a:extLst>
              <a:ext uri="{FF2B5EF4-FFF2-40B4-BE49-F238E27FC236}">
                <a16:creationId xmlns:a16="http://schemas.microsoft.com/office/drawing/2014/main" id="{445977E1-DE32-4950-9F2B-4C611478B75C}"/>
              </a:ext>
            </a:extLst>
          </p:cNvPr>
          <p:cNvGrpSpPr/>
          <p:nvPr/>
        </p:nvGrpSpPr>
        <p:grpSpPr>
          <a:xfrm>
            <a:off x="179514" y="620688"/>
            <a:ext cx="3973631" cy="587152"/>
            <a:chOff x="535865" y="609600"/>
            <a:chExt cx="3973631" cy="587152"/>
          </a:xfrm>
        </p:grpSpPr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28C9777E-1940-458F-BFD7-83E528BD8217}"/>
                </a:ext>
              </a:extLst>
            </p:cNvPr>
            <p:cNvSpPr/>
            <p:nvPr/>
          </p:nvSpPr>
          <p:spPr>
            <a:xfrm>
              <a:off x="1341144" y="609600"/>
              <a:ext cx="3168352" cy="587152"/>
            </a:xfrm>
            <a:prstGeom prst="rect">
              <a:avLst/>
            </a:prstGeom>
            <a:noFill/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357807D8-89D4-4275-B192-7CD049E7DFDB}"/>
                </a:ext>
              </a:extLst>
            </p:cNvPr>
            <p:cNvSpPr/>
            <p:nvPr/>
          </p:nvSpPr>
          <p:spPr>
            <a:xfrm>
              <a:off x="535865" y="609600"/>
              <a:ext cx="139571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F6DD6823-33F6-4956-A230-94FAC6F593FF}"/>
                </a:ext>
              </a:extLst>
            </p:cNvPr>
            <p:cNvSpPr/>
            <p:nvPr/>
          </p:nvSpPr>
          <p:spPr>
            <a:xfrm>
              <a:off x="740061" y="609600"/>
              <a:ext cx="139571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FDBA3D67-28CC-4268-A116-F5C96E360381}"/>
                </a:ext>
              </a:extLst>
            </p:cNvPr>
            <p:cNvSpPr/>
            <p:nvPr/>
          </p:nvSpPr>
          <p:spPr>
            <a:xfrm>
              <a:off x="942606" y="609600"/>
              <a:ext cx="333913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3" name="矩形 12">
            <a:extLst>
              <a:ext uri="{FF2B5EF4-FFF2-40B4-BE49-F238E27FC236}">
                <a16:creationId xmlns:a16="http://schemas.microsoft.com/office/drawing/2014/main" id="{EC477971-63F8-492E-ABEC-D1F48EB71CEE}"/>
              </a:ext>
            </a:extLst>
          </p:cNvPr>
          <p:cNvSpPr/>
          <p:nvPr/>
        </p:nvSpPr>
        <p:spPr>
          <a:xfrm>
            <a:off x="1631504" y="1916832"/>
            <a:ext cx="8712968" cy="345638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01" name="Rectangle 1027"/>
          <p:cNvSpPr>
            <a:spLocks noGrp="1" noChangeArrowheads="1"/>
          </p:cNvSpPr>
          <p:nvPr>
            <p:ph idx="1"/>
          </p:nvPr>
        </p:nvSpPr>
        <p:spPr>
          <a:xfrm>
            <a:off x="2057400" y="1905000"/>
            <a:ext cx="7775575" cy="4044950"/>
          </a:xfrm>
        </p:spPr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en-US" altLang="zh-CN" sz="3600" b="1" dirty="0">
                <a:latin typeface="华文中宋"/>
                <a:ea typeface="华文中宋"/>
                <a:cs typeface="华文中宋"/>
              </a:rPr>
              <a:t>sp</a:t>
            </a:r>
            <a:r>
              <a:rPr lang="en-US" altLang="zh-CN" sz="3600" b="1" baseline="30000" dirty="0">
                <a:latin typeface="华文中宋"/>
                <a:ea typeface="华文中宋"/>
                <a:cs typeface="华文中宋"/>
              </a:rPr>
              <a:t>3</a:t>
            </a:r>
            <a:r>
              <a:rPr lang="zh-CN" altLang="en-US" sz="3600" b="1" dirty="0">
                <a:latin typeface="华文中宋"/>
                <a:ea typeface="华文中宋"/>
                <a:cs typeface="华文中宋"/>
              </a:rPr>
              <a:t>杂化轨道</a:t>
            </a:r>
            <a:endParaRPr lang="en-US" altLang="zh-CN" sz="3600" b="1" dirty="0">
              <a:latin typeface="华文中宋"/>
              <a:ea typeface="华文中宋"/>
              <a:cs typeface="华文中宋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6E38B6FA-63DB-44E3-B46A-85291F4F6EB3}"/>
              </a:ext>
            </a:extLst>
          </p:cNvPr>
          <p:cNvSpPr/>
          <p:nvPr/>
        </p:nvSpPr>
        <p:spPr>
          <a:xfrm>
            <a:off x="3751309" y="765735"/>
            <a:ext cx="4689379" cy="6265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5" tIns="34283" rIns="68565" bIns="34283" rtlCol="0" anchor="ctr"/>
          <a:lstStyle/>
          <a:p>
            <a:pPr algn="ctr"/>
            <a:r>
              <a:rPr lang="zh-CN" altLang="en-US" sz="3200" b="1" dirty="0">
                <a:latin typeface="+mj-ea"/>
                <a:ea typeface="+mj-ea"/>
              </a:rPr>
              <a:t>二、碳原子的杂化轨道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596D1B89-4A15-4A32-AB52-D5347F944CBE}"/>
              </a:ext>
            </a:extLst>
          </p:cNvPr>
          <p:cNvSpPr/>
          <p:nvPr/>
        </p:nvSpPr>
        <p:spPr>
          <a:xfrm>
            <a:off x="1055440" y="1916832"/>
            <a:ext cx="9793088" cy="446449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9703" name="Picture 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333652" y="2705120"/>
            <a:ext cx="7620000" cy="3581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>
          <a:xfrm>
            <a:off x="2166910" y="571480"/>
            <a:ext cx="3673475" cy="1143000"/>
          </a:xfrm>
        </p:spPr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altLang="zh-CN" sz="3600" b="1" dirty="0">
                <a:solidFill>
                  <a:schemeClr val="tx1"/>
                </a:solidFill>
                <a:latin typeface="华文中宋" pitchFamily="2" charset="-122"/>
                <a:ea typeface="华文中宋" pitchFamily="2" charset="-122"/>
                <a:cs typeface="Times New Roman" pitchFamily="18" charset="0"/>
              </a:rPr>
              <a:t>sp</a:t>
            </a:r>
            <a:r>
              <a:rPr lang="en-US" altLang="zh-CN" sz="3600" b="1" baseline="30000" dirty="0">
                <a:solidFill>
                  <a:schemeClr val="tx1"/>
                </a:solidFill>
                <a:latin typeface="华文中宋" pitchFamily="2" charset="-122"/>
                <a:ea typeface="华文中宋" pitchFamily="2" charset="-122"/>
                <a:cs typeface="Times New Roman" pitchFamily="18" charset="0"/>
              </a:rPr>
              <a:t>2</a:t>
            </a:r>
            <a:r>
              <a:rPr lang="zh-CN" altLang="en-US" sz="3600" b="1" dirty="0">
                <a:solidFill>
                  <a:schemeClr val="tx1"/>
                </a:solidFill>
                <a:latin typeface="华文中宋" pitchFamily="2" charset="-122"/>
                <a:ea typeface="华文中宋" pitchFamily="2" charset="-122"/>
                <a:cs typeface="Times New Roman" pitchFamily="18" charset="0"/>
              </a:rPr>
              <a:t>杂化轨道</a:t>
            </a:r>
          </a:p>
        </p:txBody>
      </p:sp>
      <p:sp>
        <p:nvSpPr>
          <p:cNvPr id="6148" name="Rectangle 3"/>
          <p:cNvSpPr>
            <a:spLocks noGrp="1" noChangeArrowheads="1"/>
          </p:cNvSpPr>
          <p:nvPr>
            <p:ph idx="1"/>
          </p:nvPr>
        </p:nvSpPr>
        <p:spPr>
          <a:xfrm>
            <a:off x="2133600" y="1752600"/>
            <a:ext cx="8153400" cy="4495800"/>
          </a:xfrm>
        </p:spPr>
        <p:txBody>
          <a:bodyPr/>
          <a:lstStyle/>
          <a:p>
            <a:pPr eaLnBrk="1" hangingPunct="1">
              <a:buFont typeface="Wingdings" pitchFamily="2" charset="2"/>
              <a:buNone/>
            </a:pPr>
            <a:endParaRPr lang="en-US" altLang="zh-CN" dirty="0">
              <a:latin typeface="华文中宋" pitchFamily="2" charset="-122"/>
              <a:ea typeface="华文中宋" pitchFamily="2" charset="-122"/>
            </a:endParaRPr>
          </a:p>
        </p:txBody>
      </p:sp>
      <p:graphicFrame>
        <p:nvGraphicFramePr>
          <p:cNvPr id="6146" name="Object 2"/>
          <p:cNvGraphicFramePr>
            <a:graphicFrameLocks noChangeAspect="1"/>
          </p:cNvGraphicFramePr>
          <p:nvPr/>
        </p:nvGraphicFramePr>
        <p:xfrm>
          <a:off x="2514600" y="2328863"/>
          <a:ext cx="7543800" cy="36909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ISIS/Draw Sketch" r:id="rId3" imgW="3044190" imgH="1946910" progId="ISISServer">
                  <p:embed/>
                </p:oleObj>
              </mc:Choice>
              <mc:Fallback>
                <p:oleObj name="ISIS/Draw Sketch" r:id="rId3" imgW="3044190" imgH="1946910" progId="ISISServer">
                  <p:embed/>
                  <p:pic>
                    <p:nvPicPr>
                      <p:cNvPr id="6146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14600" y="2328863"/>
                        <a:ext cx="7543800" cy="369093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9" name="Text Box 5"/>
          <p:cNvSpPr txBox="1">
            <a:spLocks noChangeArrowheads="1"/>
          </p:cNvSpPr>
          <p:nvPr/>
        </p:nvSpPr>
        <p:spPr bwMode="auto">
          <a:xfrm>
            <a:off x="3886200" y="3733800"/>
            <a:ext cx="1250950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kumimoji="1" lang="zh-CN" altLang="en-US" sz="2800" b="1" dirty="0">
                <a:latin typeface="Times New Roman" pitchFamily="18" charset="0"/>
                <a:ea typeface="华文中宋" pitchFamily="2" charset="-122"/>
              </a:rPr>
              <a:t>激发态</a:t>
            </a:r>
          </a:p>
        </p:txBody>
      </p:sp>
    </p:spTree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9" name="Rectangle 3"/>
          <p:cNvSpPr>
            <a:spLocks noGrp="1" noChangeArrowheads="1"/>
          </p:cNvSpPr>
          <p:nvPr>
            <p:ph idx="1"/>
          </p:nvPr>
        </p:nvSpPr>
        <p:spPr>
          <a:xfrm>
            <a:off x="1869222" y="1928172"/>
            <a:ext cx="8305800" cy="4876800"/>
          </a:xfrm>
        </p:spPr>
        <p:txBody>
          <a:bodyPr/>
          <a:lstStyle/>
          <a:p>
            <a:pPr eaLnBrk="1" hangingPunct="1"/>
            <a:r>
              <a:rPr lang="zh-CN" altLang="en-US" b="1" dirty="0">
                <a:latin typeface="华文中宋"/>
                <a:ea typeface="华文中宋"/>
                <a:cs typeface="华文中宋"/>
              </a:rPr>
              <a:t>形成过程</a:t>
            </a:r>
          </a:p>
          <a:p>
            <a:pPr eaLnBrk="1" hangingPunct="1"/>
            <a:endParaRPr lang="en-US" altLang="zh-CN" sz="3600" b="1" dirty="0">
              <a:latin typeface="华文中宋"/>
              <a:ea typeface="华文中宋"/>
              <a:cs typeface="华文中宋"/>
            </a:endParaRPr>
          </a:p>
        </p:txBody>
      </p:sp>
      <p:sp>
        <p:nvSpPr>
          <p:cNvPr id="6" name="Rectangle 1027">
            <a:extLst>
              <a:ext uri="{FF2B5EF4-FFF2-40B4-BE49-F238E27FC236}">
                <a16:creationId xmlns:a16="http://schemas.microsoft.com/office/drawing/2014/main" id="{970BB355-8003-44D5-B5C1-564B3F46DA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69222" y="1083580"/>
            <a:ext cx="7775575" cy="83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42888" indent="-2428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8013" indent="-2428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Arial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73138" indent="-2428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90000"/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38263" indent="-2428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82738" indent="-1809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28754" indent="-243834" algn="l" defTabSz="121917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2588" indent="-243834" algn="l" defTabSz="121917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16422" indent="-243834" algn="l" defTabSz="121917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60256" indent="-243834" algn="l" defTabSz="121917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zh-CN" sz="3600" b="1" dirty="0" err="1">
                <a:latin typeface="华文中宋"/>
                <a:ea typeface="华文中宋"/>
                <a:cs typeface="华文中宋"/>
              </a:rPr>
              <a:t>sp</a:t>
            </a:r>
            <a:r>
              <a:rPr lang="zh-CN" altLang="en-US" sz="3600" b="1" dirty="0">
                <a:latin typeface="华文中宋"/>
                <a:ea typeface="华文中宋"/>
                <a:cs typeface="华文中宋"/>
              </a:rPr>
              <a:t>杂化轨道</a:t>
            </a:r>
            <a:endParaRPr lang="en-US" altLang="zh-CN" sz="3600" b="1" dirty="0">
              <a:latin typeface="华文中宋"/>
              <a:ea typeface="华文中宋"/>
              <a:cs typeface="华文中宋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50092195-7565-4CE8-B1D1-D224A3C5BB15}"/>
              </a:ext>
            </a:extLst>
          </p:cNvPr>
          <p:cNvSpPr/>
          <p:nvPr/>
        </p:nvSpPr>
        <p:spPr>
          <a:xfrm>
            <a:off x="1415480" y="692696"/>
            <a:ext cx="8928992" cy="57934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" name="图片 6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27648" y="2708920"/>
            <a:ext cx="6480720" cy="3456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1631504" y="1916839"/>
            <a:ext cx="9073008" cy="2549525"/>
          </a:xfrm>
        </p:spPr>
        <p:txBody>
          <a:bodyPr>
            <a:noAutofit/>
          </a:bodyPr>
          <a:lstStyle/>
          <a:p>
            <a:pPr marL="243411" indent="-243411" algn="just" eaLnBrk="1" hangingPunct="1">
              <a:buSzPct val="75000"/>
              <a:buFont typeface="Wingdings" pitchFamily="2" charset="2"/>
              <a:buChar char="n"/>
              <a:defRPr/>
            </a:pPr>
            <a:r>
              <a:rPr lang="zh-CN" altLang="zh-CN" sz="2800" dirty="0">
                <a:latin typeface="+mn-ea"/>
              </a:rPr>
              <a:t>碳原子之间或碳原子与其它原子都是以共价键结合。</a:t>
            </a:r>
            <a:endParaRPr lang="en-US" altLang="zh-CN" sz="2800" dirty="0">
              <a:latin typeface="+mn-ea"/>
            </a:endParaRPr>
          </a:p>
          <a:p>
            <a:pPr marL="243411" indent="-243411" algn="just" eaLnBrk="1" hangingPunct="1">
              <a:buSzPct val="75000"/>
              <a:buFont typeface="Wingdings" pitchFamily="2" charset="2"/>
              <a:buChar char="n"/>
              <a:defRPr/>
            </a:pPr>
            <a:r>
              <a:rPr lang="zh-CN" altLang="zh-CN" sz="2800" dirty="0">
                <a:latin typeface="+mn-ea"/>
              </a:rPr>
              <a:t>共用一对电子形成的键称为单键。</a:t>
            </a:r>
            <a:endParaRPr lang="en-US" altLang="zh-CN" sz="2800" dirty="0">
              <a:latin typeface="+mn-ea"/>
            </a:endParaRPr>
          </a:p>
          <a:p>
            <a:pPr marL="243411" indent="-243411" algn="just" eaLnBrk="1" hangingPunct="1">
              <a:buSzPct val="75000"/>
              <a:buFont typeface="Wingdings" pitchFamily="2" charset="2"/>
              <a:buChar char="n"/>
              <a:defRPr/>
            </a:pPr>
            <a:r>
              <a:rPr lang="zh-CN" altLang="zh-CN" sz="2800" dirty="0">
                <a:latin typeface="+mn-ea"/>
              </a:rPr>
              <a:t>由两对或三对共用电子所形成的键分别叫做双键或</a:t>
            </a:r>
            <a:r>
              <a:rPr lang="zh-CN" altLang="en-US" sz="2800" dirty="0">
                <a:latin typeface="+mn-ea"/>
              </a:rPr>
              <a:t>三</a:t>
            </a:r>
            <a:r>
              <a:rPr lang="zh-CN" altLang="zh-CN" sz="2800" dirty="0">
                <a:latin typeface="+mn-ea"/>
              </a:rPr>
              <a:t>键。</a:t>
            </a:r>
            <a:endParaRPr lang="zh-CN" altLang="en-US" sz="2800" b="1" dirty="0">
              <a:latin typeface="+mn-ea"/>
            </a:endParaRPr>
          </a:p>
          <a:p>
            <a:pPr marL="243411" indent="-243411" algn="just" eaLnBrk="1" hangingPunct="1">
              <a:buFontTx/>
              <a:buNone/>
              <a:defRPr/>
            </a:pPr>
            <a:r>
              <a:rPr lang="zh-CN" altLang="en-US" sz="2800" b="1" dirty="0">
                <a:latin typeface="+mn-ea"/>
              </a:rPr>
              <a:t>     </a:t>
            </a:r>
            <a:endParaRPr lang="en-US" altLang="zh-CN" sz="2800" b="1" dirty="0">
              <a:latin typeface="+mn-ea"/>
            </a:endParaRPr>
          </a:p>
          <a:p>
            <a:pPr marL="243411" indent="-243411" algn="just" eaLnBrk="1" hangingPunct="1">
              <a:buFontTx/>
              <a:buNone/>
              <a:defRPr/>
            </a:pPr>
            <a:r>
              <a:rPr lang="en-US" altLang="zh-CN" sz="2800" b="1" dirty="0">
                <a:latin typeface="+mn-ea"/>
              </a:rPr>
              <a:t>     </a:t>
            </a:r>
            <a:r>
              <a:rPr lang="zh-CN" altLang="en-US" sz="2800" b="1" dirty="0">
                <a:latin typeface="+mn-ea"/>
              </a:rPr>
              <a:t>单键           双键            三键</a:t>
            </a:r>
          </a:p>
        </p:txBody>
      </p:sp>
      <p:graphicFrame>
        <p:nvGraphicFramePr>
          <p:cNvPr id="24579" name="Object 5"/>
          <p:cNvGraphicFramePr>
            <a:graphicFrameLocks noChangeAspect="1"/>
          </p:cNvGraphicFramePr>
          <p:nvPr/>
        </p:nvGraphicFramePr>
        <p:xfrm>
          <a:off x="4521245" y="4575132"/>
          <a:ext cx="2299756" cy="1033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r:id="rId4" imgW="848360" imgH="421640" progId="">
                  <p:embed/>
                </p:oleObj>
              </mc:Choice>
              <mc:Fallback>
                <p:oleObj r:id="rId4" imgW="848360" imgH="421640" progId="">
                  <p:embed/>
                  <p:pic>
                    <p:nvPicPr>
                      <p:cNvPr id="24579" name="Objec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21245" y="4575132"/>
                        <a:ext cx="2299756" cy="10334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4580" name="Object 6"/>
          <p:cNvGraphicFramePr>
            <a:graphicFrameLocks noChangeAspect="1"/>
          </p:cNvGraphicFramePr>
          <p:nvPr/>
        </p:nvGraphicFramePr>
        <p:xfrm>
          <a:off x="6821001" y="4813256"/>
          <a:ext cx="3360373" cy="557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r:id="rId6" imgW="1054100" imgH="187960" progId="">
                  <p:embed/>
                </p:oleObj>
              </mc:Choice>
              <mc:Fallback>
                <p:oleObj r:id="rId6" imgW="1054100" imgH="187960" progId="">
                  <p:embed/>
                  <p:pic>
                    <p:nvPicPr>
                      <p:cNvPr id="24580" name="Object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821001" y="4813256"/>
                        <a:ext cx="3360373" cy="55721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585" name="Picture 8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847528" y="4601513"/>
            <a:ext cx="2380264" cy="874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矩形 9">
            <a:extLst>
              <a:ext uri="{FF2B5EF4-FFF2-40B4-BE49-F238E27FC236}">
                <a16:creationId xmlns:a16="http://schemas.microsoft.com/office/drawing/2014/main" id="{5F4C2779-B485-4E9A-9A7B-2DF47E5AFEF9}"/>
              </a:ext>
            </a:extLst>
          </p:cNvPr>
          <p:cNvSpPr/>
          <p:nvPr/>
        </p:nvSpPr>
        <p:spPr>
          <a:xfrm>
            <a:off x="3751309" y="765735"/>
            <a:ext cx="4689379" cy="6265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5" tIns="34283" rIns="68565" bIns="34283" rtlCol="0" anchor="ctr"/>
          <a:lstStyle/>
          <a:p>
            <a:pPr algn="ctr"/>
            <a:r>
              <a:rPr lang="zh-CN" altLang="en-US" sz="3200" b="1" dirty="0">
                <a:latin typeface="+mj-ea"/>
                <a:ea typeface="+mj-ea"/>
              </a:rPr>
              <a:t>三、碳原子的成键方式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72BEF83C-5DAB-414C-86DD-596A4668883B}"/>
              </a:ext>
            </a:extLst>
          </p:cNvPr>
          <p:cNvSpPr/>
          <p:nvPr/>
        </p:nvSpPr>
        <p:spPr>
          <a:xfrm>
            <a:off x="1055440" y="1772816"/>
            <a:ext cx="9793088" cy="446449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245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245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642431" y="1743648"/>
            <a:ext cx="8622977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lnSpc>
                <a:spcPct val="150000"/>
              </a:lnSpc>
              <a:defRPr/>
            </a:pPr>
            <a:r>
              <a:rPr lang="en-US" altLang="zh-CN" sz="2400" b="1" dirty="0">
                <a:latin typeface="+mn-ea"/>
                <a:ea typeface="+mn-ea"/>
              </a:rPr>
              <a:t>1.</a:t>
            </a:r>
            <a:r>
              <a:rPr lang="zh-CN" altLang="zh-CN" sz="2400" dirty="0">
                <a:latin typeface="+mn-ea"/>
                <a:ea typeface="+mn-ea"/>
              </a:rPr>
              <a:t>有机物</a:t>
            </a:r>
            <a:r>
              <a:rPr lang="zh-CN" altLang="en-US" sz="2400" dirty="0">
                <a:latin typeface="+mn-ea"/>
                <a:ea typeface="+mn-ea"/>
              </a:rPr>
              <a:t>中碳原子和其他原子结合时总是显示</a:t>
            </a:r>
            <a:r>
              <a:rPr lang="zh-CN" altLang="zh-CN" sz="2400" dirty="0">
                <a:latin typeface="+mn-ea"/>
                <a:ea typeface="+mn-ea"/>
              </a:rPr>
              <a:t>（</a:t>
            </a:r>
            <a:r>
              <a:rPr lang="en-US" altLang="zh-CN" sz="2400" dirty="0">
                <a:latin typeface="+mn-ea"/>
                <a:ea typeface="+mn-ea"/>
              </a:rPr>
              <a:t>    </a:t>
            </a:r>
            <a:r>
              <a:rPr lang="zh-CN" altLang="zh-CN" sz="2400" dirty="0">
                <a:latin typeface="+mn-ea"/>
                <a:ea typeface="+mn-ea"/>
              </a:rPr>
              <a:t>）</a:t>
            </a:r>
            <a:r>
              <a:rPr lang="zh-CN" altLang="en-US" sz="2400" dirty="0">
                <a:latin typeface="+mn-ea"/>
                <a:ea typeface="+mn-ea"/>
              </a:rPr>
              <a:t>价</a:t>
            </a:r>
            <a:endParaRPr lang="en-US" altLang="zh-CN" sz="2400" dirty="0">
              <a:latin typeface="+mn-ea"/>
              <a:ea typeface="+mn-ea"/>
            </a:endParaRPr>
          </a:p>
          <a:p>
            <a:pPr marL="457200" indent="-457200">
              <a:lnSpc>
                <a:spcPct val="150000"/>
              </a:lnSpc>
              <a:defRPr/>
            </a:pPr>
            <a:r>
              <a:rPr lang="en-US" altLang="zh-CN" sz="2400" dirty="0">
                <a:latin typeface="+mn-ea"/>
                <a:ea typeface="+mn-ea"/>
              </a:rPr>
              <a:t>   A.3         B.4       C.5       D.2</a:t>
            </a:r>
            <a:endParaRPr lang="zh-CN" altLang="zh-CN" sz="2400" dirty="0">
              <a:latin typeface="+mn-ea"/>
              <a:ea typeface="+mn-ea"/>
            </a:endParaRPr>
          </a:p>
          <a:p>
            <a:pPr>
              <a:lnSpc>
                <a:spcPct val="150000"/>
              </a:lnSpc>
              <a:defRPr/>
            </a:pPr>
            <a:r>
              <a:rPr lang="en-US" altLang="zh-CN" sz="2400" dirty="0">
                <a:latin typeface="+mn-ea"/>
                <a:ea typeface="+mn-ea"/>
              </a:rPr>
              <a:t>2.</a:t>
            </a:r>
            <a:r>
              <a:rPr lang="zh-CN" altLang="en-US" sz="2400" dirty="0">
                <a:latin typeface="+mn-ea"/>
                <a:ea typeface="+mn-ea"/>
              </a:rPr>
              <a:t>由于原子轨道重叠方式的不同，共价键可分为</a:t>
            </a:r>
            <a:r>
              <a:rPr lang="zh-CN" altLang="zh-CN" sz="2400" dirty="0">
                <a:latin typeface="+mn-ea"/>
                <a:ea typeface="+mn-ea"/>
              </a:rPr>
              <a:t>（</a:t>
            </a:r>
            <a:r>
              <a:rPr lang="en-US" altLang="zh-CN" sz="2400" dirty="0">
                <a:latin typeface="+mn-ea"/>
                <a:ea typeface="+mn-ea"/>
              </a:rPr>
              <a:t>    </a:t>
            </a:r>
            <a:r>
              <a:rPr lang="zh-CN" altLang="zh-CN" sz="2400" dirty="0">
                <a:latin typeface="+mn-ea"/>
                <a:ea typeface="+mn-ea"/>
              </a:rPr>
              <a:t>）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dirty="0">
                <a:latin typeface="+mn-ea"/>
                <a:ea typeface="+mn-ea"/>
              </a:rPr>
              <a:t>   A.  </a:t>
            </a:r>
            <a:r>
              <a:rPr lang="zh-CN" altLang="en-US" sz="2400" dirty="0">
                <a:latin typeface="+mn-ea"/>
                <a:ea typeface="+mn-ea"/>
              </a:rPr>
              <a:t>键和</a:t>
            </a:r>
            <a:r>
              <a:rPr lang="en-US" altLang="zh-CN" sz="2400" b="1" dirty="0">
                <a:latin typeface="+mn-ea"/>
                <a:ea typeface="+mn-ea"/>
              </a:rPr>
              <a:t>∏</a:t>
            </a:r>
            <a:r>
              <a:rPr lang="zh-CN" altLang="en-US" sz="2400" dirty="0">
                <a:latin typeface="+mn-ea"/>
                <a:ea typeface="+mn-ea"/>
              </a:rPr>
              <a:t>键  </a:t>
            </a:r>
            <a:r>
              <a:rPr lang="en-US" altLang="zh-CN" sz="2400" dirty="0">
                <a:latin typeface="+mn-ea"/>
                <a:ea typeface="+mn-ea"/>
              </a:rPr>
              <a:t>B.</a:t>
            </a:r>
            <a:r>
              <a:rPr lang="zh-CN" altLang="en-US" sz="2400" dirty="0">
                <a:latin typeface="+mn-ea"/>
                <a:ea typeface="+mn-ea"/>
              </a:rPr>
              <a:t>饱和键和不饱和键</a:t>
            </a:r>
            <a:r>
              <a:rPr lang="en-US" altLang="zh-CN" sz="2400" dirty="0">
                <a:latin typeface="+mn-ea"/>
                <a:ea typeface="+mn-ea"/>
              </a:rPr>
              <a:t>  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dirty="0">
                <a:latin typeface="+mn-ea"/>
                <a:ea typeface="+mn-ea"/>
              </a:rPr>
              <a:t>   C.</a:t>
            </a:r>
            <a:r>
              <a:rPr lang="zh-CN" altLang="en-US" sz="2400" dirty="0">
                <a:latin typeface="+mn-ea"/>
                <a:ea typeface="+mn-ea"/>
              </a:rPr>
              <a:t>极性键和非极性键   </a:t>
            </a:r>
            <a:r>
              <a:rPr lang="en-US" altLang="zh-CN" sz="2400" dirty="0">
                <a:latin typeface="+mn-ea"/>
                <a:ea typeface="+mn-ea"/>
              </a:rPr>
              <a:t>D.</a:t>
            </a:r>
            <a:r>
              <a:rPr lang="zh-CN" altLang="en-US" sz="2400" dirty="0">
                <a:latin typeface="+mn-ea"/>
                <a:ea typeface="+mn-ea"/>
              </a:rPr>
              <a:t>双键和叁键</a:t>
            </a:r>
            <a:endParaRPr lang="zh-CN" altLang="zh-CN" sz="2400" dirty="0">
              <a:latin typeface="+mn-ea"/>
              <a:ea typeface="+mn-ea"/>
            </a:endParaRPr>
          </a:p>
          <a:p>
            <a:pPr>
              <a:lnSpc>
                <a:spcPct val="150000"/>
              </a:lnSpc>
              <a:defRPr/>
            </a:pPr>
            <a:r>
              <a:rPr lang="en-US" altLang="zh-CN" sz="2400" dirty="0">
                <a:latin typeface="+mn-ea"/>
                <a:ea typeface="+mn-ea"/>
              </a:rPr>
              <a:t>3.</a:t>
            </a:r>
            <a:r>
              <a:rPr lang="en-US" altLang="zh-CN" sz="2400" b="1" dirty="0">
                <a:latin typeface="+mn-ea"/>
                <a:ea typeface="+mn-ea"/>
              </a:rPr>
              <a:t> sp</a:t>
            </a:r>
            <a:r>
              <a:rPr lang="en-US" altLang="zh-CN" sz="2400" b="1" baseline="30000" dirty="0">
                <a:latin typeface="+mn-ea"/>
                <a:ea typeface="+mn-ea"/>
              </a:rPr>
              <a:t>2</a:t>
            </a:r>
            <a:r>
              <a:rPr lang="zh-CN" altLang="en-US" sz="2400" dirty="0">
                <a:latin typeface="+mn-ea"/>
                <a:ea typeface="+mn-ea"/>
              </a:rPr>
              <a:t>杂化</a:t>
            </a:r>
            <a:r>
              <a:rPr lang="zh-CN" altLang="zh-CN" sz="2400" dirty="0">
                <a:latin typeface="+mn-ea"/>
                <a:ea typeface="+mn-ea"/>
              </a:rPr>
              <a:t>是</a:t>
            </a:r>
            <a:r>
              <a:rPr lang="zh-CN" altLang="en-US" sz="2400" dirty="0">
                <a:latin typeface="+mn-ea"/>
                <a:ea typeface="+mn-ea"/>
              </a:rPr>
              <a:t>指</a:t>
            </a:r>
            <a:r>
              <a:rPr lang="zh-CN" altLang="zh-CN" sz="2400" dirty="0">
                <a:latin typeface="+mn-ea"/>
                <a:ea typeface="+mn-ea"/>
              </a:rPr>
              <a:t>（</a:t>
            </a:r>
            <a:r>
              <a:rPr lang="en-US" altLang="zh-CN" sz="2400" dirty="0">
                <a:latin typeface="+mn-ea"/>
                <a:ea typeface="+mn-ea"/>
              </a:rPr>
              <a:t>    </a:t>
            </a:r>
            <a:r>
              <a:rPr lang="zh-CN" altLang="zh-CN" sz="2400" dirty="0">
                <a:latin typeface="+mn-ea"/>
                <a:ea typeface="+mn-ea"/>
              </a:rPr>
              <a:t>）</a:t>
            </a:r>
          </a:p>
          <a:p>
            <a:pPr>
              <a:lnSpc>
                <a:spcPct val="150000"/>
              </a:lnSpc>
              <a:defRPr/>
            </a:pPr>
            <a:r>
              <a:rPr lang="en-US" altLang="zh-CN" sz="2400" dirty="0">
                <a:latin typeface="+mn-ea"/>
                <a:ea typeface="+mn-ea"/>
              </a:rPr>
              <a:t>   A</a:t>
            </a:r>
            <a:r>
              <a:rPr lang="zh-CN" altLang="zh-CN" sz="2400" dirty="0">
                <a:latin typeface="+mn-ea"/>
                <a:ea typeface="+mn-ea"/>
              </a:rPr>
              <a:t>．</a:t>
            </a:r>
            <a:r>
              <a:rPr lang="en-US" altLang="zh-CN" sz="2400" dirty="0">
                <a:latin typeface="+mn-ea"/>
                <a:ea typeface="+mn-ea"/>
              </a:rPr>
              <a:t>1</a:t>
            </a:r>
            <a:r>
              <a:rPr lang="zh-CN" altLang="en-US" sz="2400" dirty="0">
                <a:latin typeface="+mn-ea"/>
                <a:ea typeface="+mn-ea"/>
              </a:rPr>
              <a:t>个</a:t>
            </a:r>
            <a:r>
              <a:rPr lang="en-US" altLang="zh-CN" sz="2400" b="1" dirty="0">
                <a:latin typeface="+mn-ea"/>
                <a:ea typeface="+mn-ea"/>
              </a:rPr>
              <a:t>s</a:t>
            </a:r>
            <a:r>
              <a:rPr lang="zh-CN" altLang="en-US" sz="2400" b="1" dirty="0">
                <a:latin typeface="+mn-ea"/>
                <a:ea typeface="+mn-ea"/>
              </a:rPr>
              <a:t>轨道和</a:t>
            </a:r>
            <a:r>
              <a:rPr lang="en-US" altLang="zh-CN" sz="2400" b="1" dirty="0">
                <a:latin typeface="+mn-ea"/>
                <a:ea typeface="+mn-ea"/>
              </a:rPr>
              <a:t>1</a:t>
            </a:r>
            <a:r>
              <a:rPr lang="zh-CN" altLang="en-US" sz="2400" b="1" dirty="0">
                <a:latin typeface="+mn-ea"/>
                <a:ea typeface="+mn-ea"/>
              </a:rPr>
              <a:t>个</a:t>
            </a:r>
            <a:r>
              <a:rPr lang="en-US" altLang="zh-CN" sz="2400" b="1" dirty="0">
                <a:latin typeface="+mn-ea"/>
                <a:ea typeface="+mn-ea"/>
              </a:rPr>
              <a:t>p</a:t>
            </a:r>
            <a:r>
              <a:rPr lang="zh-CN" altLang="en-US" sz="2400" b="1" dirty="0">
                <a:latin typeface="+mn-ea"/>
                <a:ea typeface="+mn-ea"/>
              </a:rPr>
              <a:t>轨道      </a:t>
            </a:r>
            <a:r>
              <a:rPr lang="en-US" altLang="zh-CN" sz="2400" dirty="0">
                <a:latin typeface="+mn-ea"/>
                <a:ea typeface="+mn-ea"/>
              </a:rPr>
              <a:t>B. 1</a:t>
            </a:r>
            <a:r>
              <a:rPr lang="zh-CN" altLang="en-US" sz="2400" dirty="0">
                <a:latin typeface="+mn-ea"/>
                <a:ea typeface="+mn-ea"/>
              </a:rPr>
              <a:t>个</a:t>
            </a:r>
            <a:r>
              <a:rPr lang="en-US" altLang="zh-CN" sz="2400" b="1" dirty="0">
                <a:latin typeface="+mn-ea"/>
                <a:ea typeface="+mn-ea"/>
              </a:rPr>
              <a:t>s</a:t>
            </a:r>
            <a:r>
              <a:rPr lang="zh-CN" altLang="en-US" sz="2400" b="1" dirty="0">
                <a:latin typeface="+mn-ea"/>
                <a:ea typeface="+mn-ea"/>
              </a:rPr>
              <a:t>轨道和</a:t>
            </a:r>
            <a:r>
              <a:rPr lang="en-US" altLang="zh-CN" sz="2400" b="1" dirty="0">
                <a:latin typeface="+mn-ea"/>
                <a:ea typeface="+mn-ea"/>
              </a:rPr>
              <a:t>3</a:t>
            </a:r>
            <a:r>
              <a:rPr lang="zh-CN" altLang="en-US" sz="2400" b="1" dirty="0">
                <a:latin typeface="+mn-ea"/>
                <a:ea typeface="+mn-ea"/>
              </a:rPr>
              <a:t>个</a:t>
            </a:r>
            <a:r>
              <a:rPr lang="en-US" altLang="zh-CN" sz="2400" b="1" dirty="0">
                <a:latin typeface="+mn-ea"/>
                <a:ea typeface="+mn-ea"/>
              </a:rPr>
              <a:t>p</a:t>
            </a:r>
            <a:r>
              <a:rPr lang="zh-CN" altLang="en-US" sz="2400" b="1" dirty="0">
                <a:latin typeface="+mn-ea"/>
                <a:ea typeface="+mn-ea"/>
              </a:rPr>
              <a:t>轨道</a:t>
            </a:r>
            <a:endParaRPr lang="en-US" altLang="zh-CN" sz="2400" b="1" dirty="0">
              <a:latin typeface="+mn-ea"/>
              <a:ea typeface="+mn-ea"/>
            </a:endParaRPr>
          </a:p>
          <a:p>
            <a:pPr>
              <a:lnSpc>
                <a:spcPct val="150000"/>
              </a:lnSpc>
              <a:defRPr/>
            </a:pPr>
            <a:r>
              <a:rPr lang="en-US" altLang="zh-CN" sz="2400" dirty="0">
                <a:latin typeface="+mn-ea"/>
                <a:ea typeface="+mn-ea"/>
              </a:rPr>
              <a:t>   C. 1</a:t>
            </a:r>
            <a:r>
              <a:rPr lang="zh-CN" altLang="en-US" sz="2400" dirty="0">
                <a:latin typeface="+mn-ea"/>
                <a:ea typeface="+mn-ea"/>
              </a:rPr>
              <a:t>个</a:t>
            </a:r>
            <a:r>
              <a:rPr lang="en-US" altLang="zh-CN" sz="2400" b="1" dirty="0">
                <a:latin typeface="+mn-ea"/>
                <a:ea typeface="+mn-ea"/>
              </a:rPr>
              <a:t>s</a:t>
            </a:r>
            <a:r>
              <a:rPr lang="zh-CN" altLang="en-US" sz="2400" b="1" dirty="0">
                <a:latin typeface="+mn-ea"/>
                <a:ea typeface="+mn-ea"/>
              </a:rPr>
              <a:t>轨道和</a:t>
            </a:r>
            <a:r>
              <a:rPr lang="en-US" altLang="zh-CN" sz="2400" b="1" dirty="0">
                <a:latin typeface="+mn-ea"/>
                <a:ea typeface="+mn-ea"/>
              </a:rPr>
              <a:t>2</a:t>
            </a:r>
            <a:r>
              <a:rPr lang="zh-CN" altLang="en-US" sz="2400" b="1" dirty="0">
                <a:latin typeface="+mn-ea"/>
                <a:ea typeface="+mn-ea"/>
              </a:rPr>
              <a:t>个</a:t>
            </a:r>
            <a:r>
              <a:rPr lang="en-US" altLang="zh-CN" sz="2400" b="1" dirty="0">
                <a:latin typeface="+mn-ea"/>
                <a:ea typeface="+mn-ea"/>
              </a:rPr>
              <a:t>p</a:t>
            </a:r>
            <a:r>
              <a:rPr lang="zh-CN" altLang="en-US" sz="2400" b="1" dirty="0">
                <a:latin typeface="+mn-ea"/>
                <a:ea typeface="+mn-ea"/>
              </a:rPr>
              <a:t>轨道      </a:t>
            </a:r>
            <a:r>
              <a:rPr lang="en-US" altLang="zh-CN" sz="2400" dirty="0">
                <a:latin typeface="+mn-ea"/>
                <a:ea typeface="+mn-ea"/>
              </a:rPr>
              <a:t>D.</a:t>
            </a:r>
            <a:r>
              <a:rPr lang="zh-CN" altLang="en-US" sz="2400" dirty="0">
                <a:latin typeface="+mn-ea"/>
                <a:ea typeface="+mn-ea"/>
              </a:rPr>
              <a:t> </a:t>
            </a:r>
            <a:r>
              <a:rPr lang="en-US" altLang="zh-CN" sz="2400" dirty="0">
                <a:latin typeface="+mn-ea"/>
                <a:ea typeface="+mn-ea"/>
              </a:rPr>
              <a:t>1</a:t>
            </a:r>
            <a:r>
              <a:rPr lang="zh-CN" altLang="en-US" sz="2400" dirty="0">
                <a:latin typeface="+mn-ea"/>
                <a:ea typeface="+mn-ea"/>
              </a:rPr>
              <a:t>个</a:t>
            </a:r>
            <a:r>
              <a:rPr lang="en-US" altLang="zh-CN" sz="2400" b="1" dirty="0">
                <a:latin typeface="+mn-ea"/>
                <a:ea typeface="+mn-ea"/>
              </a:rPr>
              <a:t>s</a:t>
            </a:r>
            <a:r>
              <a:rPr lang="zh-CN" altLang="en-US" sz="2400" b="1" dirty="0">
                <a:latin typeface="+mn-ea"/>
                <a:ea typeface="+mn-ea"/>
              </a:rPr>
              <a:t>轨道和</a:t>
            </a:r>
            <a:r>
              <a:rPr lang="en-US" altLang="zh-CN" sz="2400" b="1" dirty="0">
                <a:latin typeface="+mn-ea"/>
                <a:ea typeface="+mn-ea"/>
              </a:rPr>
              <a:t>4</a:t>
            </a:r>
            <a:r>
              <a:rPr lang="zh-CN" altLang="en-US" sz="2400" b="1" dirty="0">
                <a:latin typeface="+mn-ea"/>
                <a:ea typeface="+mn-ea"/>
              </a:rPr>
              <a:t>个</a:t>
            </a:r>
            <a:r>
              <a:rPr lang="en-US" altLang="zh-CN" sz="2400" b="1" dirty="0">
                <a:latin typeface="+mn-ea"/>
                <a:ea typeface="+mn-ea"/>
              </a:rPr>
              <a:t>p</a:t>
            </a:r>
            <a:r>
              <a:rPr lang="zh-CN" altLang="en-US" sz="2400" b="1" dirty="0">
                <a:latin typeface="+mn-ea"/>
                <a:ea typeface="+mn-ea"/>
              </a:rPr>
              <a:t>轨道  </a:t>
            </a:r>
            <a:endParaRPr lang="zh-CN" altLang="zh-CN" sz="2400" dirty="0">
              <a:latin typeface="+mn-ea"/>
              <a:ea typeface="+mn-ea"/>
            </a:endParaRP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14C90761-B760-4774-AE41-56C88E34DC73}"/>
              </a:ext>
            </a:extLst>
          </p:cNvPr>
          <p:cNvGrpSpPr/>
          <p:nvPr/>
        </p:nvGrpSpPr>
        <p:grpSpPr>
          <a:xfrm>
            <a:off x="395536" y="620688"/>
            <a:ext cx="2520280" cy="1728192"/>
            <a:chOff x="20345" y="262272"/>
            <a:chExt cx="3050575" cy="2091823"/>
          </a:xfrm>
        </p:grpSpPr>
        <p:pic>
          <p:nvPicPr>
            <p:cNvPr id="7" name="图片 6">
              <a:extLst>
                <a:ext uri="{FF2B5EF4-FFF2-40B4-BE49-F238E27FC236}">
                  <a16:creationId xmlns:a16="http://schemas.microsoft.com/office/drawing/2014/main" id="{A9BF1AE9-E57C-40A0-B655-03AD6EDF4AE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345" y="262272"/>
              <a:ext cx="2091823" cy="2091823"/>
            </a:xfrm>
            <a:prstGeom prst="rect">
              <a:avLst/>
            </a:prstGeom>
          </p:spPr>
        </p:pic>
        <p:sp>
          <p:nvSpPr>
            <p:cNvPr id="8" name="Text Box 12">
              <a:extLst>
                <a:ext uri="{FF2B5EF4-FFF2-40B4-BE49-F238E27FC236}">
                  <a16:creationId xmlns:a16="http://schemas.microsoft.com/office/drawing/2014/main" id="{1FAD06DA-EF74-4287-BE0B-CE91B64AABF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51520" y="1556792"/>
              <a:ext cx="2819400" cy="5588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zh-CN" altLang="en-US" sz="2400" b="1" dirty="0">
                  <a:solidFill>
                    <a:schemeClr val="bg1"/>
                  </a:solidFill>
                  <a:latin typeface="+mn-ea"/>
                  <a:ea typeface="+mn-ea"/>
                </a:rPr>
                <a:t>目标检测</a:t>
              </a:r>
              <a:endParaRPr lang="en-US" altLang="zh-CN" sz="2400" b="1" dirty="0">
                <a:solidFill>
                  <a:schemeClr val="bg1"/>
                </a:solidFill>
                <a:latin typeface="+mn-ea"/>
                <a:ea typeface="+mn-ea"/>
              </a:endParaRPr>
            </a:p>
          </p:txBody>
        </p:sp>
      </p:grpSp>
      <p:sp>
        <p:nvSpPr>
          <p:cNvPr id="9" name="矩形 8">
            <a:extLst>
              <a:ext uri="{FF2B5EF4-FFF2-40B4-BE49-F238E27FC236}">
                <a16:creationId xmlns:a16="http://schemas.microsoft.com/office/drawing/2014/main" id="{161111A5-1236-4017-AAB3-7ADC55E1499D}"/>
              </a:ext>
            </a:extLst>
          </p:cNvPr>
          <p:cNvSpPr/>
          <p:nvPr/>
        </p:nvSpPr>
        <p:spPr>
          <a:xfrm>
            <a:off x="2324584" y="1609296"/>
            <a:ext cx="8739968" cy="47720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452794" y="3643314"/>
            <a:ext cx="366712" cy="239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">
            <a:extLst>
              <a:ext uri="{FF2B5EF4-FFF2-40B4-BE49-F238E27FC236}">
                <a16:creationId xmlns:a16="http://schemas.microsoft.com/office/drawing/2014/main" id="{0321DDC0-F997-4597-8850-165706478EC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77461" y="3284984"/>
            <a:ext cx="596828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3600" dirty="0">
                <a:latin typeface="+mn-ea"/>
                <a:ea typeface="+mn-ea"/>
              </a:rPr>
              <a:t>1.B  2.A  </a:t>
            </a:r>
            <a:r>
              <a:rPr lang="en-US" altLang="zh-CN" sz="3600">
                <a:latin typeface="+mn-ea"/>
                <a:ea typeface="+mn-ea"/>
              </a:rPr>
              <a:t>3.C    </a:t>
            </a:r>
            <a:endParaRPr lang="zh-CN" altLang="en-US" sz="3600" dirty="0">
              <a:latin typeface="+mn-ea"/>
              <a:ea typeface="+mn-ea"/>
            </a:endParaRP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3282F926-DD1E-455F-929A-41AAD8CC17D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097" y="770114"/>
            <a:ext cx="1899806" cy="1320564"/>
          </a:xfrm>
          <a:prstGeom prst="rect">
            <a:avLst/>
          </a:prstGeom>
        </p:spPr>
      </p:pic>
      <p:sp>
        <p:nvSpPr>
          <p:cNvPr id="8" name="Rectangle 6">
            <a:extLst>
              <a:ext uri="{FF2B5EF4-FFF2-40B4-BE49-F238E27FC236}">
                <a16:creationId xmlns:a16="http://schemas.microsoft.com/office/drawing/2014/main" id="{0856528E-CF31-4930-BDDC-5B23BFC96F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72072" y="1156039"/>
            <a:ext cx="1635384" cy="1015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indent="266700"/>
            <a:r>
              <a:rPr lang="zh-CN" altLang="en-US" sz="3200" dirty="0">
                <a:latin typeface="+mj-ea"/>
                <a:ea typeface="+mj-ea"/>
                <a:cs typeface="Times New Roman" charset="0"/>
              </a:rPr>
              <a:t>答案</a:t>
            </a:r>
            <a:r>
              <a:rPr lang="zh-CN" altLang="en-US" sz="2800" b="1" dirty="0">
                <a:latin typeface="Times New Roman" charset="0"/>
                <a:cs typeface="Times New Roman" charset="0"/>
              </a:rPr>
              <a:t>：</a:t>
            </a:r>
            <a:endParaRPr lang="en-US" altLang="zh-CN" sz="2800" b="1" dirty="0"/>
          </a:p>
          <a:p>
            <a:pPr indent="266700" eaLnBrk="0" hangingPunct="0"/>
            <a:endParaRPr lang="zh-CN" altLang="en-US" sz="2800" b="1" dirty="0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DD329933-195D-4E9B-9618-26BC6FA7B4F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0693" y="3177671"/>
            <a:ext cx="1008112" cy="1008112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98748" y="1913731"/>
            <a:ext cx="10972800" cy="4876800"/>
          </a:xfrm>
        </p:spPr>
        <p:txBody>
          <a:bodyPr>
            <a:normAutofit/>
          </a:bodyPr>
          <a:lstStyle/>
          <a:p>
            <a:pPr marL="243411" indent="-243411" eaLnBrk="1" hangingPunct="1">
              <a:spcBef>
                <a:spcPct val="50000"/>
              </a:spcBef>
              <a:defRPr/>
            </a:pPr>
            <a:r>
              <a:rPr lang="zh-CN" altLang="en-US" sz="2800" b="1" dirty="0">
                <a:solidFill>
                  <a:srgbClr val="000000"/>
                </a:solidFill>
                <a:latin typeface="+mn-ea"/>
              </a:rPr>
              <a:t>有机化合物种类繁多，必须进行科学分类，目前主要有两种分类方法。</a:t>
            </a:r>
            <a:br>
              <a:rPr lang="zh-CN" altLang="en-US" sz="2800" b="1" dirty="0">
                <a:solidFill>
                  <a:srgbClr val="000000"/>
                </a:solidFill>
                <a:latin typeface="+mn-ea"/>
              </a:rPr>
            </a:br>
            <a:endParaRPr lang="zh-CN" altLang="en-US" sz="2800" b="1" dirty="0">
              <a:solidFill>
                <a:srgbClr val="000000"/>
              </a:solidFill>
              <a:latin typeface="黑体" panose="02010609060101010101" pitchFamily="49" charset="-122"/>
            </a:endParaRPr>
          </a:p>
        </p:txBody>
      </p:sp>
      <p:grpSp>
        <p:nvGrpSpPr>
          <p:cNvPr id="8" name="组合 32"/>
          <p:cNvGrpSpPr>
            <a:grpSpLocks/>
          </p:cNvGrpSpPr>
          <p:nvPr/>
        </p:nvGrpSpPr>
        <p:grpSpPr bwMode="auto">
          <a:xfrm>
            <a:off x="3324210" y="3429000"/>
            <a:ext cx="2016125" cy="1846262"/>
            <a:chOff x="1143010" y="4143380"/>
            <a:chExt cx="1785938" cy="1774825"/>
          </a:xfrm>
        </p:grpSpPr>
        <p:grpSp>
          <p:nvGrpSpPr>
            <p:cNvPr id="18441" name="Group 7"/>
            <p:cNvGrpSpPr>
              <a:grpSpLocks/>
            </p:cNvGrpSpPr>
            <p:nvPr/>
          </p:nvGrpSpPr>
          <p:grpSpPr bwMode="auto">
            <a:xfrm>
              <a:off x="1143010" y="4143380"/>
              <a:ext cx="1785938" cy="1774825"/>
              <a:chOff x="2016" y="1920"/>
              <a:chExt cx="1680" cy="1680"/>
            </a:xfrm>
          </p:grpSpPr>
          <p:sp>
            <p:nvSpPr>
              <p:cNvPr id="11" name="Oval 8"/>
              <p:cNvSpPr>
                <a:spLocks noChangeArrowheads="1"/>
              </p:cNvSpPr>
              <p:nvPr/>
            </p:nvSpPr>
            <p:spPr bwMode="gray">
              <a:xfrm>
                <a:off x="2016" y="1920"/>
                <a:ext cx="1680" cy="1680"/>
              </a:xfrm>
              <a:prstGeom prst="ellipse">
                <a:avLst/>
              </a:prstGeom>
              <a:gradFill rotWithShape="1">
                <a:gsLst>
                  <a:gs pos="0">
                    <a:schemeClr val="accent2"/>
                  </a:gs>
                  <a:gs pos="100000">
                    <a:schemeClr val="accent2">
                      <a:gamma/>
                      <a:shade val="63529"/>
                      <a:invGamma/>
                    </a:schemeClr>
                  </a:gs>
                </a:gsLst>
                <a:lin ang="5400000" scaled="1"/>
              </a:gradFill>
              <a:ln w="9525">
                <a:noFill/>
                <a:round/>
              </a:ln>
              <a:effectLst/>
            </p:spPr>
            <p:txBody>
              <a:bodyPr wrap="none" anchor="ctr"/>
              <a:lstStyle/>
              <a:p>
                <a:pPr algn="ctr" latinLnBrk="1">
                  <a:defRPr/>
                </a:pPr>
                <a:endParaRPr lang="zh-CN" altLang="en-US" sz="2000" b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sp>
            <p:nvSpPr>
              <p:cNvPr id="12" name="Freeform 9"/>
              <p:cNvSpPr/>
              <p:nvPr/>
            </p:nvSpPr>
            <p:spPr bwMode="gray">
              <a:xfrm>
                <a:off x="2209" y="1949"/>
                <a:ext cx="1295" cy="634"/>
              </a:xfrm>
              <a:custGeom>
                <a:avLst/>
                <a:gdLst>
                  <a:gd name="T0" fmla="*/ 1014 w 1321"/>
                  <a:gd name="T1" fmla="*/ 89 h 712"/>
                  <a:gd name="T2" fmla="*/ 1027 w 1321"/>
                  <a:gd name="T3" fmla="*/ 98 h 712"/>
                  <a:gd name="T4" fmla="*/ 1030 w 1321"/>
                  <a:gd name="T5" fmla="*/ 106 h 712"/>
                  <a:gd name="T6" fmla="*/ 1025 w 1321"/>
                  <a:gd name="T7" fmla="*/ 114 h 712"/>
                  <a:gd name="T8" fmla="*/ 1012 w 1321"/>
                  <a:gd name="T9" fmla="*/ 120 h 712"/>
                  <a:gd name="T10" fmla="*/ 992 w 1321"/>
                  <a:gd name="T11" fmla="*/ 128 h 712"/>
                  <a:gd name="T12" fmla="*/ 966 w 1321"/>
                  <a:gd name="T13" fmla="*/ 134 h 712"/>
                  <a:gd name="T14" fmla="*/ 933 w 1321"/>
                  <a:gd name="T15" fmla="*/ 139 h 712"/>
                  <a:gd name="T16" fmla="*/ 895 w 1321"/>
                  <a:gd name="T17" fmla="*/ 144 h 712"/>
                  <a:gd name="T18" fmla="*/ 852 w 1321"/>
                  <a:gd name="T19" fmla="*/ 148 h 712"/>
                  <a:gd name="T20" fmla="*/ 804 w 1321"/>
                  <a:gd name="T21" fmla="*/ 151 h 712"/>
                  <a:gd name="T22" fmla="*/ 754 w 1321"/>
                  <a:gd name="T23" fmla="*/ 152 h 712"/>
                  <a:gd name="T24" fmla="*/ 699 w 1321"/>
                  <a:gd name="T25" fmla="*/ 156 h 712"/>
                  <a:gd name="T26" fmla="*/ 643 w 1321"/>
                  <a:gd name="T27" fmla="*/ 157 h 712"/>
                  <a:gd name="T28" fmla="*/ 621 w 1321"/>
                  <a:gd name="T29" fmla="*/ 158 h 712"/>
                  <a:gd name="T30" fmla="*/ 372 w 1321"/>
                  <a:gd name="T31" fmla="*/ 158 h 712"/>
                  <a:gd name="T32" fmla="*/ 368 w 1321"/>
                  <a:gd name="T33" fmla="*/ 158 h 712"/>
                  <a:gd name="T34" fmla="*/ 319 w 1321"/>
                  <a:gd name="T35" fmla="*/ 157 h 712"/>
                  <a:gd name="T36" fmla="*/ 272 w 1321"/>
                  <a:gd name="T37" fmla="*/ 156 h 712"/>
                  <a:gd name="T38" fmla="*/ 227 w 1321"/>
                  <a:gd name="T39" fmla="*/ 154 h 712"/>
                  <a:gd name="T40" fmla="*/ 183 w 1321"/>
                  <a:gd name="T41" fmla="*/ 151 h 712"/>
                  <a:gd name="T42" fmla="*/ 146 w 1321"/>
                  <a:gd name="T43" fmla="*/ 150 h 712"/>
                  <a:gd name="T44" fmla="*/ 112 w 1321"/>
                  <a:gd name="T45" fmla="*/ 146 h 712"/>
                  <a:gd name="T46" fmla="*/ 77 w 1321"/>
                  <a:gd name="T47" fmla="*/ 143 h 712"/>
                  <a:gd name="T48" fmla="*/ 54 w 1321"/>
                  <a:gd name="T49" fmla="*/ 140 h 712"/>
                  <a:gd name="T50" fmla="*/ 26 w 1321"/>
                  <a:gd name="T51" fmla="*/ 134 h 712"/>
                  <a:gd name="T52" fmla="*/ 18 w 1321"/>
                  <a:gd name="T53" fmla="*/ 129 h 712"/>
                  <a:gd name="T54" fmla="*/ 6 w 1321"/>
                  <a:gd name="T55" fmla="*/ 123 h 712"/>
                  <a:gd name="T56" fmla="*/ 0 w 1321"/>
                  <a:gd name="T57" fmla="*/ 116 h 712"/>
                  <a:gd name="T58" fmla="*/ 0 w 1321"/>
                  <a:gd name="T59" fmla="*/ 115 h 712"/>
                  <a:gd name="T60" fmla="*/ 4 w 1321"/>
                  <a:gd name="T61" fmla="*/ 106 h 712"/>
                  <a:gd name="T62" fmla="*/ 16 w 1321"/>
                  <a:gd name="T63" fmla="*/ 99 h 712"/>
                  <a:gd name="T64" fmla="*/ 38 w 1321"/>
                  <a:gd name="T65" fmla="*/ 82 h 712"/>
                  <a:gd name="T66" fmla="*/ 73 w 1321"/>
                  <a:gd name="T67" fmla="*/ 66 h 712"/>
                  <a:gd name="T68" fmla="*/ 116 w 1321"/>
                  <a:gd name="T69" fmla="*/ 53 h 712"/>
                  <a:gd name="T70" fmla="*/ 160 w 1321"/>
                  <a:gd name="T71" fmla="*/ 38 h 712"/>
                  <a:gd name="T72" fmla="*/ 211 w 1321"/>
                  <a:gd name="T73" fmla="*/ 27 h 712"/>
                  <a:gd name="T74" fmla="*/ 267 w 1321"/>
                  <a:gd name="T75" fmla="*/ 18 h 712"/>
                  <a:gd name="T76" fmla="*/ 324 w 1321"/>
                  <a:gd name="T77" fmla="*/ 10 h 712"/>
                  <a:gd name="T78" fmla="*/ 388 w 1321"/>
                  <a:gd name="T79" fmla="*/ 4 h 712"/>
                  <a:gd name="T80" fmla="*/ 453 w 1321"/>
                  <a:gd name="T81" fmla="*/ 4 h 712"/>
                  <a:gd name="T82" fmla="*/ 521 w 1321"/>
                  <a:gd name="T83" fmla="*/ 0 h 712"/>
                  <a:gd name="T84" fmla="*/ 521 w 1321"/>
                  <a:gd name="T85" fmla="*/ 0 h 712"/>
                  <a:gd name="T86" fmla="*/ 592 w 1321"/>
                  <a:gd name="T87" fmla="*/ 4 h 712"/>
                  <a:gd name="T88" fmla="*/ 661 w 1321"/>
                  <a:gd name="T89" fmla="*/ 4 h 712"/>
                  <a:gd name="T90" fmla="*/ 727 w 1321"/>
                  <a:gd name="T91" fmla="*/ 11 h 712"/>
                  <a:gd name="T92" fmla="*/ 789 w 1321"/>
                  <a:gd name="T93" fmla="*/ 20 h 712"/>
                  <a:gd name="T94" fmla="*/ 844 w 1321"/>
                  <a:gd name="T95" fmla="*/ 30 h 712"/>
                  <a:gd name="T96" fmla="*/ 896 w 1321"/>
                  <a:gd name="T97" fmla="*/ 43 h 712"/>
                  <a:gd name="T98" fmla="*/ 942 w 1321"/>
                  <a:gd name="T99" fmla="*/ 56 h 712"/>
                  <a:gd name="T100" fmla="*/ 982 w 1321"/>
                  <a:gd name="T101" fmla="*/ 72 h 712"/>
                  <a:gd name="T102" fmla="*/ 1014 w 1321"/>
                  <a:gd name="T103" fmla="*/ 89 h 712"/>
                  <a:gd name="T104" fmla="*/ 1014 w 1321"/>
                  <a:gd name="T105" fmla="*/ 89 h 71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321"/>
                  <a:gd name="T160" fmla="*/ 0 h 712"/>
                  <a:gd name="T161" fmla="*/ 1321 w 1321"/>
                  <a:gd name="T162" fmla="*/ 712 h 712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321" h="712">
                    <a:moveTo>
                      <a:pt x="1301" y="401"/>
                    </a:moveTo>
                    <a:lnTo>
                      <a:pt x="1317" y="442"/>
                    </a:lnTo>
                    <a:lnTo>
                      <a:pt x="1321" y="481"/>
                    </a:lnTo>
                    <a:lnTo>
                      <a:pt x="1315" y="516"/>
                    </a:lnTo>
                    <a:lnTo>
                      <a:pt x="1298" y="550"/>
                    </a:lnTo>
                    <a:lnTo>
                      <a:pt x="1272" y="579"/>
                    </a:lnTo>
                    <a:lnTo>
                      <a:pt x="1239" y="604"/>
                    </a:lnTo>
                    <a:lnTo>
                      <a:pt x="1196" y="628"/>
                    </a:lnTo>
                    <a:lnTo>
                      <a:pt x="1147" y="649"/>
                    </a:lnTo>
                    <a:lnTo>
                      <a:pt x="1092" y="667"/>
                    </a:lnTo>
                    <a:lnTo>
                      <a:pt x="1031" y="683"/>
                    </a:lnTo>
                    <a:lnTo>
                      <a:pt x="967" y="694"/>
                    </a:lnTo>
                    <a:lnTo>
                      <a:pt x="896" y="704"/>
                    </a:lnTo>
                    <a:lnTo>
                      <a:pt x="824" y="710"/>
                    </a:lnTo>
                    <a:lnTo>
                      <a:pt x="795" y="712"/>
                    </a:lnTo>
                    <a:lnTo>
                      <a:pt x="476" y="712"/>
                    </a:lnTo>
                    <a:lnTo>
                      <a:pt x="472" y="712"/>
                    </a:lnTo>
                    <a:lnTo>
                      <a:pt x="409" y="708"/>
                    </a:lnTo>
                    <a:lnTo>
                      <a:pt x="348" y="704"/>
                    </a:lnTo>
                    <a:lnTo>
                      <a:pt x="290" y="696"/>
                    </a:lnTo>
                    <a:lnTo>
                      <a:pt x="235" y="689"/>
                    </a:lnTo>
                    <a:lnTo>
                      <a:pt x="186" y="677"/>
                    </a:lnTo>
                    <a:lnTo>
                      <a:pt x="141" y="663"/>
                    </a:lnTo>
                    <a:lnTo>
                      <a:pt x="102" y="648"/>
                    </a:lnTo>
                    <a:lnTo>
                      <a:pt x="67" y="630"/>
                    </a:lnTo>
                    <a:lnTo>
                      <a:pt x="39" y="608"/>
                    </a:lnTo>
                    <a:lnTo>
                      <a:pt x="18" y="583"/>
                    </a:lnTo>
                    <a:lnTo>
                      <a:pt x="6" y="554"/>
                    </a:lnTo>
                    <a:lnTo>
                      <a:pt x="0" y="524"/>
                    </a:lnTo>
                    <a:lnTo>
                      <a:pt x="0" y="520"/>
                    </a:lnTo>
                    <a:lnTo>
                      <a:pt x="4" y="487"/>
                    </a:lnTo>
                    <a:lnTo>
                      <a:pt x="16" y="446"/>
                    </a:lnTo>
                    <a:lnTo>
                      <a:pt x="51" y="370"/>
                    </a:lnTo>
                    <a:lnTo>
                      <a:pt x="94" y="299"/>
                    </a:lnTo>
                    <a:lnTo>
                      <a:pt x="147" y="235"/>
                    </a:lnTo>
                    <a:lnTo>
                      <a:pt x="204" y="176"/>
                    </a:lnTo>
                    <a:lnTo>
                      <a:pt x="270" y="125"/>
                    </a:lnTo>
                    <a:lnTo>
                      <a:pt x="341" y="82"/>
                    </a:lnTo>
                    <a:lnTo>
                      <a:pt x="415" y="47"/>
                    </a:lnTo>
                    <a:lnTo>
                      <a:pt x="497" y="21"/>
                    </a:lnTo>
                    <a:lnTo>
                      <a:pt x="581" y="6"/>
                    </a:lnTo>
                    <a:lnTo>
                      <a:pt x="667" y="0"/>
                    </a:lnTo>
                    <a:lnTo>
                      <a:pt x="759" y="6"/>
                    </a:lnTo>
                    <a:lnTo>
                      <a:pt x="847" y="23"/>
                    </a:lnTo>
                    <a:lnTo>
                      <a:pt x="932" y="53"/>
                    </a:lnTo>
                    <a:lnTo>
                      <a:pt x="1010" y="90"/>
                    </a:lnTo>
                    <a:lnTo>
                      <a:pt x="1082" y="137"/>
                    </a:lnTo>
                    <a:lnTo>
                      <a:pt x="1149" y="194"/>
                    </a:lnTo>
                    <a:lnTo>
                      <a:pt x="1208" y="256"/>
                    </a:lnTo>
                    <a:lnTo>
                      <a:pt x="1258" y="325"/>
                    </a:lnTo>
                    <a:lnTo>
                      <a:pt x="1301" y="401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chemeClr val="accent2"/>
                  </a:gs>
                </a:gsLst>
                <a:lin ang="5400000" scaled="1"/>
              </a:gradFill>
              <a:ln w="0">
                <a:noFill/>
                <a:round/>
              </a:ln>
            </p:spPr>
            <p:txBody>
              <a:bodyPr/>
              <a:lstStyle/>
              <a:p>
                <a:pPr algn="ctr" latinLnBrk="1">
                  <a:defRPr/>
                </a:pPr>
                <a:endParaRPr lang="zh-CN" altLang="en-US" sz="2000" b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</p:grpSp>
        <p:sp>
          <p:nvSpPr>
            <p:cNvPr id="18442" name="Text Box 10"/>
            <p:cNvSpPr txBox="1">
              <a:spLocks noChangeArrowheads="1"/>
            </p:cNvSpPr>
            <p:nvPr/>
          </p:nvSpPr>
          <p:spPr bwMode="gray">
            <a:xfrm>
              <a:off x="1459506" y="4857755"/>
              <a:ext cx="1075160" cy="6802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latinLnBrk="1" hangingPunct="0"/>
              <a:r>
                <a:rPr lang="zh-CN" altLang="en-US" sz="4000" b="1">
                  <a:solidFill>
                    <a:srgbClr val="FFFFFF"/>
                  </a:solidFill>
                  <a:latin typeface="隶书"/>
                  <a:ea typeface="隶书"/>
                  <a:cs typeface="隶书"/>
                </a:rPr>
                <a:t>碳架</a:t>
              </a:r>
            </a:p>
          </p:txBody>
        </p:sp>
      </p:grpSp>
      <p:grpSp>
        <p:nvGrpSpPr>
          <p:cNvPr id="13" name="组合 34"/>
          <p:cNvGrpSpPr>
            <a:grpSpLocks/>
          </p:cNvGrpSpPr>
          <p:nvPr/>
        </p:nvGrpSpPr>
        <p:grpSpPr bwMode="auto">
          <a:xfrm>
            <a:off x="6816725" y="3511550"/>
            <a:ext cx="2073275" cy="1854200"/>
            <a:chOff x="6000760" y="4143380"/>
            <a:chExt cx="1857385" cy="1782763"/>
          </a:xfrm>
        </p:grpSpPr>
        <p:grpSp>
          <p:nvGrpSpPr>
            <p:cNvPr id="18437" name="Group 24"/>
            <p:cNvGrpSpPr>
              <a:grpSpLocks/>
            </p:cNvGrpSpPr>
            <p:nvPr/>
          </p:nvGrpSpPr>
          <p:grpSpPr bwMode="auto">
            <a:xfrm>
              <a:off x="6000760" y="4143380"/>
              <a:ext cx="1784350" cy="1782763"/>
              <a:chOff x="2016" y="1920"/>
              <a:chExt cx="1678" cy="1680"/>
            </a:xfrm>
          </p:grpSpPr>
          <p:sp>
            <p:nvSpPr>
              <p:cNvPr id="16" name="Oval 25"/>
              <p:cNvSpPr>
                <a:spLocks noChangeArrowheads="1"/>
              </p:cNvSpPr>
              <p:nvPr/>
            </p:nvSpPr>
            <p:spPr bwMode="gray">
              <a:xfrm>
                <a:off x="2016" y="1920"/>
                <a:ext cx="1678" cy="1680"/>
              </a:xfrm>
              <a:prstGeom prst="ellipse">
                <a:avLst/>
              </a:prstGeom>
              <a:gradFill rotWithShape="1">
                <a:gsLst>
                  <a:gs pos="0">
                    <a:schemeClr val="accent1"/>
                  </a:gs>
                  <a:gs pos="100000">
                    <a:schemeClr val="accent1">
                      <a:gamma/>
                      <a:shade val="51373"/>
                      <a:invGamma/>
                    </a:schemeClr>
                  </a:gs>
                </a:gsLst>
                <a:lin ang="5400000" scaled="1"/>
              </a:gradFill>
              <a:ln w="9525">
                <a:noFill/>
                <a:round/>
              </a:ln>
              <a:effectLst/>
            </p:spPr>
            <p:txBody>
              <a:bodyPr wrap="none" anchor="ctr"/>
              <a:lstStyle/>
              <a:p>
                <a:pPr algn="ctr" latinLnBrk="1">
                  <a:defRPr/>
                </a:pPr>
                <a:endParaRPr lang="zh-CN" altLang="en-US" sz="2000" b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sp>
            <p:nvSpPr>
              <p:cNvPr id="17" name="Freeform 26"/>
              <p:cNvSpPr/>
              <p:nvPr/>
            </p:nvSpPr>
            <p:spPr bwMode="gray">
              <a:xfrm>
                <a:off x="2209" y="1947"/>
                <a:ext cx="1296" cy="634"/>
              </a:xfrm>
              <a:custGeom>
                <a:avLst/>
                <a:gdLst/>
                <a:ahLst/>
                <a:cxnLst>
                  <a:cxn ang="0">
                    <a:pos x="1301" y="401"/>
                  </a:cxn>
                  <a:cxn ang="0">
                    <a:pos x="1317" y="442"/>
                  </a:cxn>
                  <a:cxn ang="0">
                    <a:pos x="1321" y="481"/>
                  </a:cxn>
                  <a:cxn ang="0">
                    <a:pos x="1315" y="516"/>
                  </a:cxn>
                  <a:cxn ang="0">
                    <a:pos x="1298" y="550"/>
                  </a:cxn>
                  <a:cxn ang="0">
                    <a:pos x="1272" y="579"/>
                  </a:cxn>
                  <a:cxn ang="0">
                    <a:pos x="1239" y="604"/>
                  </a:cxn>
                  <a:cxn ang="0">
                    <a:pos x="1196" y="628"/>
                  </a:cxn>
                  <a:cxn ang="0">
                    <a:pos x="1147" y="649"/>
                  </a:cxn>
                  <a:cxn ang="0">
                    <a:pos x="1092" y="667"/>
                  </a:cxn>
                  <a:cxn ang="0">
                    <a:pos x="1031" y="683"/>
                  </a:cxn>
                  <a:cxn ang="0">
                    <a:pos x="967" y="694"/>
                  </a:cxn>
                  <a:cxn ang="0">
                    <a:pos x="896" y="704"/>
                  </a:cxn>
                  <a:cxn ang="0">
                    <a:pos x="824" y="710"/>
                  </a:cxn>
                  <a:cxn ang="0">
                    <a:pos x="795" y="712"/>
                  </a:cxn>
                  <a:cxn ang="0">
                    <a:pos x="476" y="712"/>
                  </a:cxn>
                  <a:cxn ang="0">
                    <a:pos x="472" y="712"/>
                  </a:cxn>
                  <a:cxn ang="0">
                    <a:pos x="409" y="708"/>
                  </a:cxn>
                  <a:cxn ang="0">
                    <a:pos x="348" y="704"/>
                  </a:cxn>
                  <a:cxn ang="0">
                    <a:pos x="290" y="696"/>
                  </a:cxn>
                  <a:cxn ang="0">
                    <a:pos x="235" y="689"/>
                  </a:cxn>
                  <a:cxn ang="0">
                    <a:pos x="186" y="677"/>
                  </a:cxn>
                  <a:cxn ang="0">
                    <a:pos x="141" y="663"/>
                  </a:cxn>
                  <a:cxn ang="0">
                    <a:pos x="102" y="648"/>
                  </a:cxn>
                  <a:cxn ang="0">
                    <a:pos x="67" y="630"/>
                  </a:cxn>
                  <a:cxn ang="0">
                    <a:pos x="39" y="608"/>
                  </a:cxn>
                  <a:cxn ang="0">
                    <a:pos x="18" y="583"/>
                  </a:cxn>
                  <a:cxn ang="0">
                    <a:pos x="6" y="554"/>
                  </a:cxn>
                  <a:cxn ang="0">
                    <a:pos x="0" y="524"/>
                  </a:cxn>
                  <a:cxn ang="0">
                    <a:pos x="0" y="520"/>
                  </a:cxn>
                  <a:cxn ang="0">
                    <a:pos x="4" y="487"/>
                  </a:cxn>
                  <a:cxn ang="0">
                    <a:pos x="16" y="446"/>
                  </a:cxn>
                  <a:cxn ang="0">
                    <a:pos x="51" y="370"/>
                  </a:cxn>
                  <a:cxn ang="0">
                    <a:pos x="94" y="299"/>
                  </a:cxn>
                  <a:cxn ang="0">
                    <a:pos x="147" y="235"/>
                  </a:cxn>
                  <a:cxn ang="0">
                    <a:pos x="204" y="176"/>
                  </a:cxn>
                  <a:cxn ang="0">
                    <a:pos x="270" y="125"/>
                  </a:cxn>
                  <a:cxn ang="0">
                    <a:pos x="341" y="82"/>
                  </a:cxn>
                  <a:cxn ang="0">
                    <a:pos x="415" y="47"/>
                  </a:cxn>
                  <a:cxn ang="0">
                    <a:pos x="497" y="21"/>
                  </a:cxn>
                  <a:cxn ang="0">
                    <a:pos x="581" y="6"/>
                  </a:cxn>
                  <a:cxn ang="0">
                    <a:pos x="667" y="0"/>
                  </a:cxn>
                  <a:cxn ang="0">
                    <a:pos x="667" y="0"/>
                  </a:cxn>
                  <a:cxn ang="0">
                    <a:pos x="759" y="6"/>
                  </a:cxn>
                  <a:cxn ang="0">
                    <a:pos x="847" y="23"/>
                  </a:cxn>
                  <a:cxn ang="0">
                    <a:pos x="932" y="53"/>
                  </a:cxn>
                  <a:cxn ang="0">
                    <a:pos x="1010" y="90"/>
                  </a:cxn>
                  <a:cxn ang="0">
                    <a:pos x="1082" y="137"/>
                  </a:cxn>
                  <a:cxn ang="0">
                    <a:pos x="1149" y="194"/>
                  </a:cxn>
                  <a:cxn ang="0">
                    <a:pos x="1208" y="256"/>
                  </a:cxn>
                  <a:cxn ang="0">
                    <a:pos x="1258" y="325"/>
                  </a:cxn>
                  <a:cxn ang="0">
                    <a:pos x="1301" y="401"/>
                  </a:cxn>
                  <a:cxn ang="0">
                    <a:pos x="1301" y="401"/>
                  </a:cxn>
                </a:cxnLst>
                <a:rect l="0" t="0" r="r" b="b"/>
                <a:pathLst>
                  <a:path w="1321" h="712">
                    <a:moveTo>
                      <a:pt x="1301" y="401"/>
                    </a:moveTo>
                    <a:lnTo>
                      <a:pt x="1317" y="442"/>
                    </a:lnTo>
                    <a:lnTo>
                      <a:pt x="1321" y="481"/>
                    </a:lnTo>
                    <a:lnTo>
                      <a:pt x="1315" y="516"/>
                    </a:lnTo>
                    <a:lnTo>
                      <a:pt x="1298" y="550"/>
                    </a:lnTo>
                    <a:lnTo>
                      <a:pt x="1272" y="579"/>
                    </a:lnTo>
                    <a:lnTo>
                      <a:pt x="1239" y="604"/>
                    </a:lnTo>
                    <a:lnTo>
                      <a:pt x="1196" y="628"/>
                    </a:lnTo>
                    <a:lnTo>
                      <a:pt x="1147" y="649"/>
                    </a:lnTo>
                    <a:lnTo>
                      <a:pt x="1092" y="667"/>
                    </a:lnTo>
                    <a:lnTo>
                      <a:pt x="1031" y="683"/>
                    </a:lnTo>
                    <a:lnTo>
                      <a:pt x="967" y="694"/>
                    </a:lnTo>
                    <a:lnTo>
                      <a:pt x="896" y="704"/>
                    </a:lnTo>
                    <a:lnTo>
                      <a:pt x="824" y="710"/>
                    </a:lnTo>
                    <a:lnTo>
                      <a:pt x="795" y="712"/>
                    </a:lnTo>
                    <a:lnTo>
                      <a:pt x="476" y="712"/>
                    </a:lnTo>
                    <a:lnTo>
                      <a:pt x="472" y="712"/>
                    </a:lnTo>
                    <a:lnTo>
                      <a:pt x="409" y="708"/>
                    </a:lnTo>
                    <a:lnTo>
                      <a:pt x="348" y="704"/>
                    </a:lnTo>
                    <a:lnTo>
                      <a:pt x="290" y="696"/>
                    </a:lnTo>
                    <a:lnTo>
                      <a:pt x="235" y="689"/>
                    </a:lnTo>
                    <a:lnTo>
                      <a:pt x="186" y="677"/>
                    </a:lnTo>
                    <a:lnTo>
                      <a:pt x="141" y="663"/>
                    </a:lnTo>
                    <a:lnTo>
                      <a:pt x="102" y="648"/>
                    </a:lnTo>
                    <a:lnTo>
                      <a:pt x="67" y="630"/>
                    </a:lnTo>
                    <a:lnTo>
                      <a:pt x="39" y="608"/>
                    </a:lnTo>
                    <a:lnTo>
                      <a:pt x="18" y="583"/>
                    </a:lnTo>
                    <a:lnTo>
                      <a:pt x="6" y="554"/>
                    </a:lnTo>
                    <a:lnTo>
                      <a:pt x="0" y="524"/>
                    </a:lnTo>
                    <a:lnTo>
                      <a:pt x="0" y="520"/>
                    </a:lnTo>
                    <a:lnTo>
                      <a:pt x="4" y="487"/>
                    </a:lnTo>
                    <a:lnTo>
                      <a:pt x="16" y="446"/>
                    </a:lnTo>
                    <a:lnTo>
                      <a:pt x="51" y="370"/>
                    </a:lnTo>
                    <a:lnTo>
                      <a:pt x="94" y="299"/>
                    </a:lnTo>
                    <a:lnTo>
                      <a:pt x="147" y="235"/>
                    </a:lnTo>
                    <a:lnTo>
                      <a:pt x="204" y="176"/>
                    </a:lnTo>
                    <a:lnTo>
                      <a:pt x="270" y="125"/>
                    </a:lnTo>
                    <a:lnTo>
                      <a:pt x="341" y="82"/>
                    </a:lnTo>
                    <a:lnTo>
                      <a:pt x="415" y="47"/>
                    </a:lnTo>
                    <a:lnTo>
                      <a:pt x="497" y="21"/>
                    </a:lnTo>
                    <a:lnTo>
                      <a:pt x="581" y="6"/>
                    </a:lnTo>
                    <a:lnTo>
                      <a:pt x="667" y="0"/>
                    </a:lnTo>
                    <a:lnTo>
                      <a:pt x="667" y="0"/>
                    </a:lnTo>
                    <a:lnTo>
                      <a:pt x="759" y="6"/>
                    </a:lnTo>
                    <a:lnTo>
                      <a:pt x="847" y="23"/>
                    </a:lnTo>
                    <a:lnTo>
                      <a:pt x="932" y="53"/>
                    </a:lnTo>
                    <a:lnTo>
                      <a:pt x="1010" y="90"/>
                    </a:lnTo>
                    <a:lnTo>
                      <a:pt x="1082" y="137"/>
                    </a:lnTo>
                    <a:lnTo>
                      <a:pt x="1149" y="194"/>
                    </a:lnTo>
                    <a:lnTo>
                      <a:pt x="1208" y="256"/>
                    </a:lnTo>
                    <a:lnTo>
                      <a:pt x="1258" y="325"/>
                    </a:lnTo>
                    <a:lnTo>
                      <a:pt x="1301" y="401"/>
                    </a:lnTo>
                    <a:lnTo>
                      <a:pt x="1301" y="401"/>
                    </a:lnTo>
                    <a:close/>
                  </a:path>
                </a:pathLst>
              </a:custGeom>
              <a:gradFill rotWithShape="1">
                <a:gsLst>
                  <a:gs pos="0">
                    <a:schemeClr val="accent1">
                      <a:gamma/>
                      <a:tint val="0"/>
                      <a:invGamma/>
                    </a:schemeClr>
                  </a:gs>
                  <a:gs pos="100000">
                    <a:schemeClr val="accent1"/>
                  </a:gs>
                </a:gsLst>
                <a:lin ang="5400000" scaled="1"/>
              </a:gradFill>
              <a:ln w="0">
                <a:noFill/>
                <a:prstDash val="solid"/>
                <a:round/>
              </a:ln>
              <a:effectLst/>
            </p:spPr>
            <p:txBody>
              <a:bodyPr/>
              <a:lstStyle/>
              <a:p>
                <a:pPr algn="ctr" latinLnBrk="1">
                  <a:defRPr/>
                </a:pPr>
                <a:endParaRPr lang="zh-CN" altLang="en-US" sz="2000" b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</p:grpSp>
        <p:sp>
          <p:nvSpPr>
            <p:cNvPr id="18438" name="Text Box 27"/>
            <p:cNvSpPr txBox="1">
              <a:spLocks noChangeArrowheads="1"/>
            </p:cNvSpPr>
            <p:nvPr/>
          </p:nvSpPr>
          <p:spPr bwMode="gray">
            <a:xfrm>
              <a:off x="6000760" y="4857755"/>
              <a:ext cx="1857385" cy="6201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latinLnBrk="1" hangingPunct="0"/>
              <a:r>
                <a:rPr kumimoji="1" lang="zh-CN" altLang="en-US" sz="3600" b="1"/>
                <a:t>官能团</a:t>
              </a:r>
            </a:p>
          </p:txBody>
        </p:sp>
      </p:grp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9D42EFA2-3A5A-4A1F-8FD2-DFB8BF31A811}"/>
              </a:ext>
            </a:extLst>
          </p:cNvPr>
          <p:cNvGrpSpPr/>
          <p:nvPr/>
        </p:nvGrpSpPr>
        <p:grpSpPr>
          <a:xfrm>
            <a:off x="179514" y="620688"/>
            <a:ext cx="4608385" cy="587152"/>
            <a:chOff x="535865" y="609600"/>
            <a:chExt cx="4608385" cy="587152"/>
          </a:xfrm>
        </p:grpSpPr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3446EA17-C762-499E-A12E-4FE113F2DA97}"/>
                </a:ext>
              </a:extLst>
            </p:cNvPr>
            <p:cNvSpPr/>
            <p:nvPr/>
          </p:nvSpPr>
          <p:spPr>
            <a:xfrm>
              <a:off x="1341143" y="609600"/>
              <a:ext cx="3803107" cy="587152"/>
            </a:xfrm>
            <a:prstGeom prst="rect">
              <a:avLst/>
            </a:prstGeom>
            <a:noFill/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6992DD6D-24ED-4140-9F65-B3596082E7AC}"/>
                </a:ext>
              </a:extLst>
            </p:cNvPr>
            <p:cNvSpPr/>
            <p:nvPr/>
          </p:nvSpPr>
          <p:spPr>
            <a:xfrm>
              <a:off x="535865" y="609600"/>
              <a:ext cx="139571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E4A825B9-5B76-45C5-94C0-02396A3583AC}"/>
                </a:ext>
              </a:extLst>
            </p:cNvPr>
            <p:cNvSpPr/>
            <p:nvPr/>
          </p:nvSpPr>
          <p:spPr>
            <a:xfrm>
              <a:off x="740061" y="609600"/>
              <a:ext cx="139571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0" name="矩形 19">
              <a:extLst>
                <a:ext uri="{FF2B5EF4-FFF2-40B4-BE49-F238E27FC236}">
                  <a16:creationId xmlns:a16="http://schemas.microsoft.com/office/drawing/2014/main" id="{A4BFF0FF-0616-4949-9C3B-D3864444C6DD}"/>
                </a:ext>
              </a:extLst>
            </p:cNvPr>
            <p:cNvSpPr/>
            <p:nvPr/>
          </p:nvSpPr>
          <p:spPr>
            <a:xfrm>
              <a:off x="942606" y="609600"/>
              <a:ext cx="333913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1" name="Text Box 15">
            <a:extLst>
              <a:ext uri="{FF2B5EF4-FFF2-40B4-BE49-F238E27FC236}">
                <a16:creationId xmlns:a16="http://schemas.microsoft.com/office/drawing/2014/main" id="{848FCEDF-D8A3-4CE4-B4A2-0F37957CB0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0168" y="597670"/>
            <a:ext cx="3887897" cy="633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3200" b="1" dirty="0">
                <a:latin typeface="+mj-ea"/>
                <a:ea typeface="+mj-ea"/>
              </a:rPr>
              <a:t>有机化合物的分类</a:t>
            </a:r>
            <a:endParaRPr lang="en-US" altLang="zh-CN" sz="3200" b="1" dirty="0">
              <a:latin typeface="+mj-ea"/>
              <a:ea typeface="+mj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2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54"/>
          <p:cNvGrpSpPr>
            <a:grpSpLocks/>
          </p:cNvGrpSpPr>
          <p:nvPr/>
        </p:nvGrpSpPr>
        <p:grpSpPr bwMode="auto">
          <a:xfrm>
            <a:off x="2341428" y="1911350"/>
            <a:ext cx="2100262" cy="3776663"/>
            <a:chOff x="1357290" y="2428868"/>
            <a:chExt cx="2100258" cy="3776658"/>
          </a:xfrm>
        </p:grpSpPr>
        <p:sp>
          <p:nvSpPr>
            <p:cNvPr id="37" name="AutoShape 3"/>
            <p:cNvSpPr>
              <a:spLocks noChangeArrowheads="1"/>
            </p:cNvSpPr>
            <p:nvPr/>
          </p:nvSpPr>
          <p:spPr bwMode="gray">
            <a:xfrm>
              <a:off x="1357290" y="2428868"/>
              <a:ext cx="2100258" cy="3776658"/>
            </a:xfrm>
            <a:prstGeom prst="rightArrow">
              <a:avLst>
                <a:gd name="adj1" fmla="val 62787"/>
                <a:gd name="adj2" fmla="val 41259"/>
              </a:avLst>
            </a:prstGeom>
            <a:gradFill rotWithShape="1">
              <a:gsLst>
                <a:gs pos="0">
                  <a:schemeClr val="bg2">
                    <a:gamma/>
                    <a:tint val="0"/>
                    <a:invGamma/>
                    <a:alpha val="0"/>
                  </a:schemeClr>
                </a:gs>
                <a:gs pos="100000">
                  <a:schemeClr val="bg2">
                    <a:alpha val="50000"/>
                  </a:schemeClr>
                </a:gs>
              </a:gsLst>
              <a:lin ang="0" scaled="1"/>
            </a:gradFill>
            <a:ln w="19050" cap="rnd" algn="ctr">
              <a:solidFill>
                <a:schemeClr val="bg2"/>
              </a:solidFill>
              <a:prstDash val="sysDot"/>
              <a:miter lim="800000"/>
            </a:ln>
            <a:effectLst/>
          </p:spPr>
          <p:txBody>
            <a:bodyPr wrap="none" anchor="ctr"/>
            <a:lstStyle/>
            <a:p>
              <a:pPr latinLnBrk="1">
                <a:defRPr/>
              </a:pPr>
              <a:endParaRPr lang="zh-CN" altLang="zh-CN" sz="2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</a:endParaRPr>
            </a:p>
          </p:txBody>
        </p:sp>
        <p:sp>
          <p:nvSpPr>
            <p:cNvPr id="20495" name="Text Box 4"/>
            <p:cNvSpPr txBox="1">
              <a:spLocks noChangeArrowheads="1"/>
            </p:cNvSpPr>
            <p:nvPr/>
          </p:nvSpPr>
          <p:spPr bwMode="black">
            <a:xfrm>
              <a:off x="1357290" y="3643304"/>
              <a:ext cx="2000246" cy="13234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latinLnBrk="1"/>
              <a:r>
                <a:rPr lang="zh-CN" altLang="en-US" sz="4000" b="1">
                  <a:solidFill>
                    <a:srgbClr val="006666"/>
                  </a:solidFill>
                  <a:latin typeface="+mn-ea"/>
                  <a:ea typeface="+mn-ea"/>
                  <a:cs typeface="隶书"/>
                </a:rPr>
                <a:t>分类</a:t>
              </a:r>
              <a:endParaRPr lang="en-US" altLang="zh-CN" sz="4000" b="1">
                <a:solidFill>
                  <a:srgbClr val="006666"/>
                </a:solidFill>
                <a:latin typeface="+mn-ea"/>
                <a:ea typeface="+mn-ea"/>
                <a:cs typeface="隶书"/>
              </a:endParaRPr>
            </a:p>
            <a:p>
              <a:pPr latinLnBrk="1"/>
              <a:r>
                <a:rPr lang="zh-CN" altLang="en-US" sz="4000" b="1">
                  <a:solidFill>
                    <a:srgbClr val="006666"/>
                  </a:solidFill>
                  <a:latin typeface="+mn-ea"/>
                  <a:ea typeface="+mn-ea"/>
                  <a:cs typeface="隶书"/>
                </a:rPr>
                <a:t>方法 </a:t>
              </a:r>
            </a:p>
          </p:txBody>
        </p:sp>
      </p:grpSp>
      <p:sp>
        <p:nvSpPr>
          <p:cNvPr id="39" name="AutoShape 5"/>
          <p:cNvSpPr>
            <a:spLocks noChangeArrowheads="1"/>
          </p:cNvSpPr>
          <p:nvPr/>
        </p:nvSpPr>
        <p:spPr bwMode="auto">
          <a:xfrm>
            <a:off x="4595813" y="1928813"/>
            <a:ext cx="5105400" cy="4191000"/>
          </a:xfrm>
          <a:prstGeom prst="roundRect">
            <a:avLst>
              <a:gd name="adj" fmla="val 3481"/>
            </a:avLst>
          </a:prstGeom>
          <a:noFill/>
          <a:ln w="19050" cap="rnd">
            <a:solidFill>
              <a:schemeClr val="bg2"/>
            </a:solidFill>
            <a:prstDash val="sysDot"/>
            <a:round/>
          </a:ln>
        </p:spPr>
        <p:txBody>
          <a:bodyPr wrap="none" anchor="ctr"/>
          <a:lstStyle/>
          <a:p>
            <a:pPr latinLnBrk="1">
              <a:defRPr/>
            </a:pPr>
            <a:endParaRPr lang="zh-CN" altLang="en-US" sz="2000" b="1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宋体" panose="02010600030101010101" pitchFamily="2" charset="-122"/>
            </a:endParaRPr>
          </a:p>
        </p:txBody>
      </p:sp>
      <p:grpSp>
        <p:nvGrpSpPr>
          <p:cNvPr id="3" name="组合 57"/>
          <p:cNvGrpSpPr>
            <a:grpSpLocks/>
          </p:cNvGrpSpPr>
          <p:nvPr/>
        </p:nvGrpSpPr>
        <p:grpSpPr bwMode="auto">
          <a:xfrm>
            <a:off x="4621626" y="4366212"/>
            <a:ext cx="4924425" cy="1228725"/>
            <a:chOff x="3614710" y="4967278"/>
            <a:chExt cx="4924425" cy="1228725"/>
          </a:xfrm>
        </p:grpSpPr>
        <p:grpSp>
          <p:nvGrpSpPr>
            <p:cNvPr id="20490" name="Group 12"/>
            <p:cNvGrpSpPr>
              <a:grpSpLocks/>
            </p:cNvGrpSpPr>
            <p:nvPr/>
          </p:nvGrpSpPr>
          <p:grpSpPr bwMode="auto">
            <a:xfrm>
              <a:off x="3614710" y="4967278"/>
              <a:ext cx="4924425" cy="1228725"/>
              <a:chOff x="2304" y="2880"/>
              <a:chExt cx="3102" cy="774"/>
            </a:xfrm>
          </p:grpSpPr>
          <p:sp>
            <p:nvSpPr>
              <p:cNvPr id="43" name="AutoShape 13"/>
              <p:cNvSpPr>
                <a:spLocks noChangeArrowheads="1"/>
              </p:cNvSpPr>
              <p:nvPr/>
            </p:nvSpPr>
            <p:spPr bwMode="gray">
              <a:xfrm>
                <a:off x="2334" y="2880"/>
                <a:ext cx="3072" cy="774"/>
              </a:xfrm>
              <a:prstGeom prst="roundRect">
                <a:avLst>
                  <a:gd name="adj" fmla="val 10889"/>
                </a:avLst>
              </a:prstGeom>
              <a:gradFill rotWithShape="1">
                <a:gsLst>
                  <a:gs pos="0">
                    <a:schemeClr val="accent2"/>
                  </a:gs>
                  <a:gs pos="100000">
                    <a:schemeClr val="accent2">
                      <a:gamma/>
                      <a:tint val="21176"/>
                      <a:invGamma/>
                    </a:schemeClr>
                  </a:gs>
                </a:gsLst>
                <a:lin ang="0" scaled="1"/>
              </a:gradFill>
              <a:ln w="38100">
                <a:noFill/>
                <a:round/>
              </a:ln>
              <a:effectLst/>
            </p:spPr>
            <p:txBody>
              <a:bodyPr wrap="none" anchor="ctr"/>
              <a:lstStyle/>
              <a:p>
                <a:pPr latinLnBrk="1">
                  <a:defRPr/>
                </a:pPr>
                <a:endParaRPr lang="zh-CN" altLang="en-US" sz="2000" b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ea"/>
                  <a:ea typeface="+mn-ea"/>
                </a:endParaRPr>
              </a:p>
            </p:txBody>
          </p:sp>
          <p:sp>
            <p:nvSpPr>
              <p:cNvPr id="44" name="AutoShape 14"/>
              <p:cNvSpPr>
                <a:spLocks noChangeArrowheads="1"/>
              </p:cNvSpPr>
              <p:nvPr/>
            </p:nvSpPr>
            <p:spPr bwMode="gray">
              <a:xfrm>
                <a:off x="2304" y="3168"/>
                <a:ext cx="336" cy="240"/>
              </a:xfrm>
              <a:prstGeom prst="rightArrow">
                <a:avLst>
                  <a:gd name="adj1" fmla="val 50000"/>
                  <a:gd name="adj2" fmla="val 58333"/>
                </a:avLst>
              </a:prstGeom>
              <a:solidFill>
                <a:schemeClr val="bg1"/>
              </a:solidFill>
              <a:ln w="9525">
                <a:noFill/>
                <a:miter lim="800000"/>
              </a:ln>
            </p:spPr>
            <p:txBody>
              <a:bodyPr wrap="none" anchor="ctr"/>
              <a:lstStyle/>
              <a:p>
                <a:pPr latinLnBrk="1">
                  <a:defRPr/>
                </a:pPr>
                <a:endParaRPr lang="zh-CN" altLang="en-US" sz="2000" b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ea"/>
                  <a:ea typeface="+mn-ea"/>
                </a:endParaRPr>
              </a:p>
            </p:txBody>
          </p:sp>
        </p:grpSp>
        <p:sp>
          <p:nvSpPr>
            <p:cNvPr id="20491" name="Text Box 15"/>
            <p:cNvSpPr txBox="1">
              <a:spLocks noChangeArrowheads="1"/>
            </p:cNvSpPr>
            <p:nvPr/>
          </p:nvSpPr>
          <p:spPr bwMode="gray">
            <a:xfrm>
              <a:off x="4252885" y="5323513"/>
              <a:ext cx="4032250" cy="58356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ts val="1800"/>
                </a:spcBef>
              </a:pPr>
              <a:r>
                <a:rPr lang="zh-CN" altLang="en-US" sz="3200" b="1" dirty="0">
                  <a:solidFill>
                    <a:srgbClr val="800080"/>
                  </a:solidFill>
                  <a:latin typeface="+mn-ea"/>
                  <a:ea typeface="+mn-ea"/>
                </a:rPr>
                <a:t>根据官能团进行分类</a:t>
              </a:r>
            </a:p>
          </p:txBody>
        </p:sp>
      </p:grpSp>
      <p:grpSp>
        <p:nvGrpSpPr>
          <p:cNvPr id="7" name="组合 55"/>
          <p:cNvGrpSpPr>
            <a:grpSpLocks/>
          </p:cNvGrpSpPr>
          <p:nvPr/>
        </p:nvGrpSpPr>
        <p:grpSpPr bwMode="auto">
          <a:xfrm>
            <a:off x="4548188" y="1928813"/>
            <a:ext cx="4924425" cy="1228725"/>
            <a:chOff x="3614710" y="2300278"/>
            <a:chExt cx="4924425" cy="1228725"/>
          </a:xfrm>
        </p:grpSpPr>
        <p:grpSp>
          <p:nvGrpSpPr>
            <p:cNvPr id="20486" name="Group 6"/>
            <p:cNvGrpSpPr>
              <a:grpSpLocks/>
            </p:cNvGrpSpPr>
            <p:nvPr/>
          </p:nvGrpSpPr>
          <p:grpSpPr bwMode="auto">
            <a:xfrm>
              <a:off x="3614710" y="2300278"/>
              <a:ext cx="4924425" cy="1228725"/>
              <a:chOff x="2304" y="1200"/>
              <a:chExt cx="3102" cy="774"/>
            </a:xfrm>
          </p:grpSpPr>
          <p:sp>
            <p:nvSpPr>
              <p:cNvPr id="53" name="AutoShape 7"/>
              <p:cNvSpPr>
                <a:spLocks noChangeArrowheads="1"/>
              </p:cNvSpPr>
              <p:nvPr/>
            </p:nvSpPr>
            <p:spPr bwMode="gray">
              <a:xfrm>
                <a:off x="2334" y="1200"/>
                <a:ext cx="3072" cy="774"/>
              </a:xfrm>
              <a:prstGeom prst="roundRect">
                <a:avLst>
                  <a:gd name="adj" fmla="val 10889"/>
                </a:avLst>
              </a:prstGeom>
              <a:gradFill rotWithShape="1">
                <a:gsLst>
                  <a:gs pos="0">
                    <a:schemeClr val="accent1"/>
                  </a:gs>
                  <a:gs pos="100000">
                    <a:schemeClr val="accent1">
                      <a:gamma/>
                      <a:tint val="21176"/>
                      <a:invGamma/>
                    </a:schemeClr>
                  </a:gs>
                </a:gsLst>
                <a:lin ang="0" scaled="1"/>
              </a:gradFill>
              <a:ln w="38100">
                <a:noFill/>
                <a:round/>
              </a:ln>
              <a:effectLst/>
            </p:spPr>
            <p:txBody>
              <a:bodyPr wrap="none" anchor="ctr"/>
              <a:lstStyle/>
              <a:p>
                <a:pPr latinLnBrk="1">
                  <a:defRPr/>
                </a:pPr>
                <a:endParaRPr lang="zh-CN" altLang="en-US" sz="2000" b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ea"/>
                  <a:ea typeface="+mn-ea"/>
                </a:endParaRPr>
              </a:p>
            </p:txBody>
          </p:sp>
          <p:sp>
            <p:nvSpPr>
              <p:cNvPr id="54" name="AutoShape 8"/>
              <p:cNvSpPr>
                <a:spLocks noChangeArrowheads="1"/>
              </p:cNvSpPr>
              <p:nvPr/>
            </p:nvSpPr>
            <p:spPr bwMode="gray">
              <a:xfrm>
                <a:off x="2304" y="1488"/>
                <a:ext cx="336" cy="240"/>
              </a:xfrm>
              <a:prstGeom prst="rightArrow">
                <a:avLst>
                  <a:gd name="adj1" fmla="val 50000"/>
                  <a:gd name="adj2" fmla="val 58333"/>
                </a:avLst>
              </a:prstGeom>
              <a:solidFill>
                <a:schemeClr val="bg1"/>
              </a:solidFill>
              <a:ln w="9525">
                <a:noFill/>
                <a:miter lim="800000"/>
              </a:ln>
            </p:spPr>
            <p:txBody>
              <a:bodyPr wrap="none" anchor="ctr"/>
              <a:lstStyle/>
              <a:p>
                <a:pPr latinLnBrk="1">
                  <a:defRPr/>
                </a:pPr>
                <a:endParaRPr lang="zh-CN" altLang="en-US" sz="2000" b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ea"/>
                  <a:ea typeface="+mn-ea"/>
                </a:endParaRPr>
              </a:p>
            </p:txBody>
          </p:sp>
        </p:grpSp>
        <p:sp>
          <p:nvSpPr>
            <p:cNvPr id="20487" name="Text Box 17"/>
            <p:cNvSpPr txBox="1">
              <a:spLocks noChangeArrowheads="1"/>
            </p:cNvSpPr>
            <p:nvPr/>
          </p:nvSpPr>
          <p:spPr bwMode="gray">
            <a:xfrm>
              <a:off x="4253203" y="2656513"/>
              <a:ext cx="4032250" cy="58356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ts val="1800"/>
                </a:spcBef>
              </a:pPr>
              <a:r>
                <a:rPr lang="zh-CN" altLang="en-US" sz="3200" b="1" dirty="0">
                  <a:solidFill>
                    <a:srgbClr val="3333CC"/>
                  </a:solidFill>
                  <a:latin typeface="+mn-ea"/>
                  <a:ea typeface="+mn-ea"/>
                </a:rPr>
                <a:t>根据碳架进行分类</a:t>
              </a:r>
            </a:p>
          </p:txBody>
        </p:sp>
      </p:grp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75FE4E62-34A2-4CC1-ACC0-A886ECE39A05}"/>
              </a:ext>
            </a:extLst>
          </p:cNvPr>
          <p:cNvGrpSpPr/>
          <p:nvPr/>
        </p:nvGrpSpPr>
        <p:grpSpPr>
          <a:xfrm>
            <a:off x="179514" y="620688"/>
            <a:ext cx="5268414" cy="587152"/>
            <a:chOff x="535865" y="609600"/>
            <a:chExt cx="5268414" cy="587152"/>
          </a:xfrm>
        </p:grpSpPr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2271384D-8F05-4540-9DA6-3EC55931C00A}"/>
                </a:ext>
              </a:extLst>
            </p:cNvPr>
            <p:cNvSpPr/>
            <p:nvPr/>
          </p:nvSpPr>
          <p:spPr>
            <a:xfrm>
              <a:off x="1341143" y="609600"/>
              <a:ext cx="4463136" cy="587152"/>
            </a:xfrm>
            <a:prstGeom prst="rect">
              <a:avLst/>
            </a:prstGeom>
            <a:noFill/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F454A928-2316-42E1-B35B-F132B71A4D68}"/>
                </a:ext>
              </a:extLst>
            </p:cNvPr>
            <p:cNvSpPr/>
            <p:nvPr/>
          </p:nvSpPr>
          <p:spPr>
            <a:xfrm>
              <a:off x="535865" y="609600"/>
              <a:ext cx="139571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0" name="矩形 19">
              <a:extLst>
                <a:ext uri="{FF2B5EF4-FFF2-40B4-BE49-F238E27FC236}">
                  <a16:creationId xmlns:a16="http://schemas.microsoft.com/office/drawing/2014/main" id="{B5E7EEA1-8F65-4222-B0E5-6D9D8A412A2D}"/>
                </a:ext>
              </a:extLst>
            </p:cNvPr>
            <p:cNvSpPr/>
            <p:nvPr/>
          </p:nvSpPr>
          <p:spPr>
            <a:xfrm>
              <a:off x="740061" y="609600"/>
              <a:ext cx="139571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1" name="矩形 20">
              <a:extLst>
                <a:ext uri="{FF2B5EF4-FFF2-40B4-BE49-F238E27FC236}">
                  <a16:creationId xmlns:a16="http://schemas.microsoft.com/office/drawing/2014/main" id="{D2D1E6F3-612B-4194-8900-DCBFD4D95405}"/>
                </a:ext>
              </a:extLst>
            </p:cNvPr>
            <p:cNvSpPr/>
            <p:nvPr/>
          </p:nvSpPr>
          <p:spPr>
            <a:xfrm>
              <a:off x="942606" y="609600"/>
              <a:ext cx="333913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2" name="Text Box 15">
            <a:extLst>
              <a:ext uri="{FF2B5EF4-FFF2-40B4-BE49-F238E27FC236}">
                <a16:creationId xmlns:a16="http://schemas.microsoft.com/office/drawing/2014/main" id="{6C73357E-389B-4426-BA09-1AAE2F283D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14776" y="574653"/>
            <a:ext cx="4433152" cy="633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3200" b="1" dirty="0">
                <a:latin typeface="+mj-ea"/>
                <a:ea typeface="+mj-ea"/>
              </a:rPr>
              <a:t>有机化合物的分类方法</a:t>
            </a:r>
            <a:endParaRPr lang="en-US" altLang="zh-CN" sz="3200" b="1" dirty="0">
              <a:latin typeface="+mj-ea"/>
              <a:ea typeface="+mj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600" decel="100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600" decel="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600" decel="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600" decel="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400" accel="100000" fill="hold">
                                          <p:stCondLst>
                                            <p:cond delay="16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400" accel="100000" fill="hold">
                                          <p:stCondLst>
                                            <p:cond delay="16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8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6" dur="2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4000"/>
                            </p:stCondLst>
                            <p:childTnLst>
                              <p:par>
                                <p:cTn id="18" presetID="2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6000"/>
                            </p:stCondLst>
                            <p:childTnLst>
                              <p:par>
                                <p:cTn id="23" presetID="2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zh-CN" altLang="en-US" sz="2800" b="1" dirty="0"/>
              <a:t>糖、脂肪、蛋白质、维生素</a:t>
            </a:r>
          </a:p>
        </p:txBody>
      </p:sp>
      <p:pic>
        <p:nvPicPr>
          <p:cNvPr id="4" name="Picture 4" descr="pic_2864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24113" y="2708275"/>
            <a:ext cx="3219450" cy="3429000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578600" y="2781300"/>
            <a:ext cx="3046413" cy="3408363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pSp>
        <p:nvGrpSpPr>
          <p:cNvPr id="10" name="组合 9">
            <a:extLst>
              <a:ext uri="{FF2B5EF4-FFF2-40B4-BE49-F238E27FC236}">
                <a16:creationId xmlns:a16="http://schemas.microsoft.com/office/drawing/2014/main" id="{A7AE622F-76D1-45B9-9D58-0F4473194C4C}"/>
              </a:ext>
            </a:extLst>
          </p:cNvPr>
          <p:cNvGrpSpPr/>
          <p:nvPr/>
        </p:nvGrpSpPr>
        <p:grpSpPr>
          <a:xfrm>
            <a:off x="179514" y="620688"/>
            <a:ext cx="4692350" cy="587152"/>
            <a:chOff x="535865" y="609600"/>
            <a:chExt cx="4692350" cy="587152"/>
          </a:xfrm>
        </p:grpSpPr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79499753-D794-44CC-9632-28FBBCDC4DD9}"/>
                </a:ext>
              </a:extLst>
            </p:cNvPr>
            <p:cNvSpPr/>
            <p:nvPr/>
          </p:nvSpPr>
          <p:spPr>
            <a:xfrm>
              <a:off x="1341143" y="609600"/>
              <a:ext cx="3887072" cy="587152"/>
            </a:xfrm>
            <a:prstGeom prst="rect">
              <a:avLst/>
            </a:prstGeom>
            <a:noFill/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2D5933DA-34D8-47DA-BB44-FBD8A0D1BC68}"/>
                </a:ext>
              </a:extLst>
            </p:cNvPr>
            <p:cNvSpPr/>
            <p:nvPr/>
          </p:nvSpPr>
          <p:spPr>
            <a:xfrm>
              <a:off x="535865" y="609600"/>
              <a:ext cx="139571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03AF6F12-531A-4164-BD55-BAEF96D4C458}"/>
                </a:ext>
              </a:extLst>
            </p:cNvPr>
            <p:cNvSpPr/>
            <p:nvPr/>
          </p:nvSpPr>
          <p:spPr>
            <a:xfrm>
              <a:off x="740061" y="609600"/>
              <a:ext cx="139571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0FCAF901-792E-4084-A734-9E4DA39430D4}"/>
                </a:ext>
              </a:extLst>
            </p:cNvPr>
            <p:cNvSpPr/>
            <p:nvPr/>
          </p:nvSpPr>
          <p:spPr>
            <a:xfrm>
              <a:off x="942606" y="609600"/>
              <a:ext cx="333913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5" name="Text Box 15">
            <a:extLst>
              <a:ext uri="{FF2B5EF4-FFF2-40B4-BE49-F238E27FC236}">
                <a16:creationId xmlns:a16="http://schemas.microsoft.com/office/drawing/2014/main" id="{6D433A87-A6DE-457B-BB77-C634737B26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0168" y="597670"/>
            <a:ext cx="4023704" cy="633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3200" b="1" dirty="0">
                <a:latin typeface="+mj-ea"/>
                <a:ea typeface="+mj-ea"/>
              </a:rPr>
              <a:t>生活中常见的有机物</a:t>
            </a:r>
            <a:endParaRPr lang="en-US" altLang="zh-CN" sz="3200" b="1" dirty="0">
              <a:latin typeface="+mj-ea"/>
              <a:ea typeface="+mj-ea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54"/>
          <p:cNvGrpSpPr>
            <a:grpSpLocks/>
          </p:cNvGrpSpPr>
          <p:nvPr/>
        </p:nvGrpSpPr>
        <p:grpSpPr bwMode="auto">
          <a:xfrm>
            <a:off x="2097088" y="1680046"/>
            <a:ext cx="2386012" cy="3776663"/>
            <a:chOff x="1357290" y="2428868"/>
            <a:chExt cx="2100258" cy="3776658"/>
          </a:xfrm>
        </p:grpSpPr>
        <p:sp>
          <p:nvSpPr>
            <p:cNvPr id="37" name="AutoShape 3"/>
            <p:cNvSpPr>
              <a:spLocks noChangeArrowheads="1"/>
            </p:cNvSpPr>
            <p:nvPr/>
          </p:nvSpPr>
          <p:spPr bwMode="gray">
            <a:xfrm>
              <a:off x="1357290" y="2428868"/>
              <a:ext cx="2100258" cy="3776658"/>
            </a:xfrm>
            <a:prstGeom prst="rightArrow">
              <a:avLst>
                <a:gd name="adj1" fmla="val 62787"/>
                <a:gd name="adj2" fmla="val 41259"/>
              </a:avLst>
            </a:prstGeom>
            <a:gradFill rotWithShape="1">
              <a:gsLst>
                <a:gs pos="0">
                  <a:schemeClr val="bg2">
                    <a:gamma/>
                    <a:tint val="0"/>
                    <a:invGamma/>
                    <a:alpha val="0"/>
                  </a:schemeClr>
                </a:gs>
                <a:gs pos="100000">
                  <a:schemeClr val="bg2">
                    <a:alpha val="50000"/>
                  </a:schemeClr>
                </a:gs>
              </a:gsLst>
              <a:lin ang="0" scaled="1"/>
            </a:gradFill>
            <a:ln w="19050" cap="rnd" algn="ctr">
              <a:solidFill>
                <a:schemeClr val="bg2"/>
              </a:solidFill>
              <a:prstDash val="sysDot"/>
              <a:miter lim="800000"/>
            </a:ln>
            <a:effectLst/>
          </p:spPr>
          <p:txBody>
            <a:bodyPr wrap="none" anchor="ctr"/>
            <a:lstStyle/>
            <a:p>
              <a:pPr latinLnBrk="1">
                <a:defRPr/>
              </a:pPr>
              <a:endParaRPr lang="zh-CN" altLang="zh-CN" sz="2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</a:endParaRPr>
            </a:p>
          </p:txBody>
        </p:sp>
        <p:sp>
          <p:nvSpPr>
            <p:cNvPr id="21518" name="Text Box 4"/>
            <p:cNvSpPr txBox="1">
              <a:spLocks noChangeArrowheads="1"/>
            </p:cNvSpPr>
            <p:nvPr/>
          </p:nvSpPr>
          <p:spPr bwMode="black">
            <a:xfrm>
              <a:off x="1357290" y="3643304"/>
              <a:ext cx="1999647" cy="7078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latinLnBrk="1"/>
              <a:r>
                <a:rPr lang="zh-CN" altLang="en-US" sz="3200" b="1" dirty="0">
                  <a:solidFill>
                    <a:srgbClr val="006666"/>
                  </a:solidFill>
                  <a:latin typeface="+mn-ea"/>
                  <a:ea typeface="+mn-ea"/>
                </a:rPr>
                <a:t> 按碳架分</a:t>
              </a:r>
              <a:r>
                <a:rPr lang="zh-CN" altLang="en-US" sz="4000" b="1" dirty="0">
                  <a:solidFill>
                    <a:srgbClr val="006666"/>
                  </a:solidFill>
                  <a:latin typeface="+mn-ea"/>
                  <a:ea typeface="+mn-ea"/>
                  <a:cs typeface="隶书"/>
                </a:rPr>
                <a:t> </a:t>
              </a:r>
            </a:p>
          </p:txBody>
        </p:sp>
      </p:grpSp>
      <p:sp>
        <p:nvSpPr>
          <p:cNvPr id="39" name="AutoShape 5"/>
          <p:cNvSpPr>
            <a:spLocks noChangeArrowheads="1"/>
          </p:cNvSpPr>
          <p:nvPr/>
        </p:nvSpPr>
        <p:spPr bwMode="auto">
          <a:xfrm>
            <a:off x="4595813" y="1928813"/>
            <a:ext cx="5105400" cy="4191000"/>
          </a:xfrm>
          <a:prstGeom prst="roundRect">
            <a:avLst>
              <a:gd name="adj" fmla="val 3481"/>
            </a:avLst>
          </a:prstGeom>
          <a:noFill/>
          <a:ln w="19050" cap="rnd">
            <a:solidFill>
              <a:schemeClr val="bg2"/>
            </a:solidFill>
            <a:prstDash val="sysDot"/>
            <a:round/>
          </a:ln>
        </p:spPr>
        <p:txBody>
          <a:bodyPr wrap="none" anchor="ctr"/>
          <a:lstStyle/>
          <a:p>
            <a:pPr latinLnBrk="1">
              <a:defRPr/>
            </a:pPr>
            <a:endParaRPr lang="zh-CN" altLang="en-US" sz="2000" b="1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宋体" panose="02010600030101010101" pitchFamily="2" charset="-122"/>
            </a:endParaRPr>
          </a:p>
        </p:txBody>
      </p:sp>
      <p:grpSp>
        <p:nvGrpSpPr>
          <p:cNvPr id="3" name="组合 57"/>
          <p:cNvGrpSpPr>
            <a:grpSpLocks/>
          </p:cNvGrpSpPr>
          <p:nvPr/>
        </p:nvGrpSpPr>
        <p:grpSpPr bwMode="auto">
          <a:xfrm>
            <a:off x="4776788" y="4151784"/>
            <a:ext cx="4924425" cy="1228725"/>
            <a:chOff x="3614710" y="4967278"/>
            <a:chExt cx="4924425" cy="1228725"/>
          </a:xfrm>
        </p:grpSpPr>
        <p:grpSp>
          <p:nvGrpSpPr>
            <p:cNvPr id="21513" name="Group 12"/>
            <p:cNvGrpSpPr>
              <a:grpSpLocks/>
            </p:cNvGrpSpPr>
            <p:nvPr/>
          </p:nvGrpSpPr>
          <p:grpSpPr bwMode="auto">
            <a:xfrm>
              <a:off x="3614710" y="4967278"/>
              <a:ext cx="4924425" cy="1228725"/>
              <a:chOff x="2304" y="2880"/>
              <a:chExt cx="3102" cy="774"/>
            </a:xfrm>
          </p:grpSpPr>
          <p:sp>
            <p:nvSpPr>
              <p:cNvPr id="43" name="AutoShape 13"/>
              <p:cNvSpPr>
                <a:spLocks noChangeArrowheads="1"/>
              </p:cNvSpPr>
              <p:nvPr/>
            </p:nvSpPr>
            <p:spPr bwMode="gray">
              <a:xfrm>
                <a:off x="2334" y="2880"/>
                <a:ext cx="3072" cy="774"/>
              </a:xfrm>
              <a:prstGeom prst="roundRect">
                <a:avLst>
                  <a:gd name="adj" fmla="val 10889"/>
                </a:avLst>
              </a:prstGeom>
              <a:gradFill rotWithShape="1">
                <a:gsLst>
                  <a:gs pos="0">
                    <a:schemeClr val="accent2"/>
                  </a:gs>
                  <a:gs pos="100000">
                    <a:schemeClr val="accent2">
                      <a:gamma/>
                      <a:tint val="21176"/>
                      <a:invGamma/>
                    </a:schemeClr>
                  </a:gs>
                </a:gsLst>
                <a:lin ang="0" scaled="1"/>
              </a:gradFill>
              <a:ln w="38100">
                <a:noFill/>
                <a:round/>
              </a:ln>
              <a:effectLst/>
            </p:spPr>
            <p:txBody>
              <a:bodyPr wrap="none" anchor="ctr"/>
              <a:lstStyle/>
              <a:p>
                <a:pPr latinLnBrk="1">
                  <a:defRPr/>
                </a:pPr>
                <a:endParaRPr lang="zh-CN" altLang="en-US" sz="2000" b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ea"/>
                  <a:ea typeface="+mn-ea"/>
                </a:endParaRPr>
              </a:p>
            </p:txBody>
          </p:sp>
          <p:sp>
            <p:nvSpPr>
              <p:cNvPr id="44" name="AutoShape 14"/>
              <p:cNvSpPr>
                <a:spLocks noChangeArrowheads="1"/>
              </p:cNvSpPr>
              <p:nvPr/>
            </p:nvSpPr>
            <p:spPr bwMode="gray">
              <a:xfrm>
                <a:off x="2304" y="3168"/>
                <a:ext cx="336" cy="240"/>
              </a:xfrm>
              <a:prstGeom prst="rightArrow">
                <a:avLst>
                  <a:gd name="adj1" fmla="val 50000"/>
                  <a:gd name="adj2" fmla="val 58333"/>
                </a:avLst>
              </a:prstGeom>
              <a:solidFill>
                <a:schemeClr val="bg1"/>
              </a:solidFill>
              <a:ln w="9525">
                <a:noFill/>
                <a:miter lim="800000"/>
              </a:ln>
            </p:spPr>
            <p:txBody>
              <a:bodyPr wrap="none" anchor="ctr"/>
              <a:lstStyle/>
              <a:p>
                <a:pPr latinLnBrk="1">
                  <a:defRPr/>
                </a:pPr>
                <a:endParaRPr lang="zh-CN" altLang="en-US" sz="2000" b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ea"/>
                  <a:ea typeface="+mn-ea"/>
                </a:endParaRPr>
              </a:p>
            </p:txBody>
          </p:sp>
        </p:grpSp>
        <p:sp>
          <p:nvSpPr>
            <p:cNvPr id="21514" name="Text Box 15"/>
            <p:cNvSpPr txBox="1">
              <a:spLocks noChangeArrowheads="1"/>
            </p:cNvSpPr>
            <p:nvPr/>
          </p:nvSpPr>
          <p:spPr bwMode="gray">
            <a:xfrm>
              <a:off x="4252885" y="5343833"/>
              <a:ext cx="4032250" cy="58356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ts val="1800"/>
                </a:spcBef>
              </a:pPr>
              <a:r>
                <a:rPr lang="zh-CN" altLang="en-US" sz="3200" b="1">
                  <a:solidFill>
                    <a:srgbClr val="800080"/>
                  </a:solidFill>
                  <a:latin typeface="+mn-ea"/>
                  <a:ea typeface="+mn-ea"/>
                </a:rPr>
                <a:t>环状化合物</a:t>
              </a:r>
            </a:p>
          </p:txBody>
        </p:sp>
      </p:grpSp>
      <p:grpSp>
        <p:nvGrpSpPr>
          <p:cNvPr id="5" name="组合 55"/>
          <p:cNvGrpSpPr>
            <a:grpSpLocks/>
          </p:cNvGrpSpPr>
          <p:nvPr/>
        </p:nvGrpSpPr>
        <p:grpSpPr bwMode="auto">
          <a:xfrm>
            <a:off x="4776788" y="1484784"/>
            <a:ext cx="4924425" cy="1228725"/>
            <a:chOff x="3614710" y="2300278"/>
            <a:chExt cx="4924425" cy="1228725"/>
          </a:xfrm>
        </p:grpSpPr>
        <p:grpSp>
          <p:nvGrpSpPr>
            <p:cNvPr id="21509" name="Group 6"/>
            <p:cNvGrpSpPr>
              <a:grpSpLocks/>
            </p:cNvGrpSpPr>
            <p:nvPr/>
          </p:nvGrpSpPr>
          <p:grpSpPr bwMode="auto">
            <a:xfrm>
              <a:off x="3614710" y="2300278"/>
              <a:ext cx="4924425" cy="1228725"/>
              <a:chOff x="2304" y="1200"/>
              <a:chExt cx="3102" cy="774"/>
            </a:xfrm>
          </p:grpSpPr>
          <p:sp>
            <p:nvSpPr>
              <p:cNvPr id="53" name="AutoShape 7"/>
              <p:cNvSpPr>
                <a:spLocks noChangeArrowheads="1"/>
              </p:cNvSpPr>
              <p:nvPr/>
            </p:nvSpPr>
            <p:spPr bwMode="gray">
              <a:xfrm>
                <a:off x="2334" y="1200"/>
                <a:ext cx="3072" cy="774"/>
              </a:xfrm>
              <a:prstGeom prst="roundRect">
                <a:avLst>
                  <a:gd name="adj" fmla="val 10889"/>
                </a:avLst>
              </a:prstGeom>
              <a:gradFill rotWithShape="1">
                <a:gsLst>
                  <a:gs pos="0">
                    <a:schemeClr val="accent1"/>
                  </a:gs>
                  <a:gs pos="100000">
                    <a:schemeClr val="accent1">
                      <a:gamma/>
                      <a:tint val="21176"/>
                      <a:invGamma/>
                    </a:schemeClr>
                  </a:gs>
                </a:gsLst>
                <a:lin ang="0" scaled="1"/>
              </a:gradFill>
              <a:ln w="38100">
                <a:noFill/>
                <a:round/>
              </a:ln>
              <a:effectLst/>
            </p:spPr>
            <p:txBody>
              <a:bodyPr wrap="none" anchor="ctr"/>
              <a:lstStyle/>
              <a:p>
                <a:pPr latinLnBrk="1">
                  <a:defRPr/>
                </a:pPr>
                <a:endParaRPr lang="zh-CN" altLang="en-US" sz="2000" b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ea"/>
                  <a:ea typeface="+mn-ea"/>
                </a:endParaRPr>
              </a:p>
            </p:txBody>
          </p:sp>
          <p:sp>
            <p:nvSpPr>
              <p:cNvPr id="54" name="AutoShape 8"/>
              <p:cNvSpPr>
                <a:spLocks noChangeArrowheads="1"/>
              </p:cNvSpPr>
              <p:nvPr/>
            </p:nvSpPr>
            <p:spPr bwMode="gray">
              <a:xfrm>
                <a:off x="2304" y="1488"/>
                <a:ext cx="336" cy="240"/>
              </a:xfrm>
              <a:prstGeom prst="rightArrow">
                <a:avLst>
                  <a:gd name="adj1" fmla="val 50000"/>
                  <a:gd name="adj2" fmla="val 58333"/>
                </a:avLst>
              </a:prstGeom>
              <a:solidFill>
                <a:schemeClr val="bg1"/>
              </a:solidFill>
              <a:ln w="9525">
                <a:noFill/>
                <a:miter lim="800000"/>
              </a:ln>
            </p:spPr>
            <p:txBody>
              <a:bodyPr wrap="none" anchor="ctr"/>
              <a:lstStyle/>
              <a:p>
                <a:pPr latinLnBrk="1">
                  <a:defRPr/>
                </a:pPr>
                <a:endParaRPr lang="zh-CN" altLang="en-US" sz="2000" b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ea"/>
                  <a:ea typeface="+mn-ea"/>
                </a:endParaRPr>
              </a:p>
            </p:txBody>
          </p:sp>
        </p:grpSp>
        <p:sp>
          <p:nvSpPr>
            <p:cNvPr id="21510" name="Text Box 17"/>
            <p:cNvSpPr txBox="1">
              <a:spLocks noChangeArrowheads="1"/>
            </p:cNvSpPr>
            <p:nvPr/>
          </p:nvSpPr>
          <p:spPr bwMode="gray">
            <a:xfrm>
              <a:off x="4253203" y="2681278"/>
              <a:ext cx="4032250" cy="58356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ts val="1800"/>
                </a:spcBef>
              </a:pPr>
              <a:r>
                <a:rPr lang="zh-CN" altLang="en-US" sz="3200" b="1" dirty="0">
                  <a:solidFill>
                    <a:srgbClr val="3333CC"/>
                  </a:solidFill>
                  <a:latin typeface="+mn-ea"/>
                  <a:ea typeface="+mn-ea"/>
                </a:rPr>
                <a:t>链状化合物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600" decel="100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600" decel="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600" decel="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600" decel="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400" accel="100000" fill="hold">
                                          <p:stCondLst>
                                            <p:cond delay="16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400" accel="100000" fill="hold">
                                          <p:stCondLst>
                                            <p:cond delay="16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8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6" dur="2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4000"/>
                            </p:stCondLst>
                            <p:childTnLst>
                              <p:par>
                                <p:cTn id="18" presetID="2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6000"/>
                            </p:stCondLst>
                            <p:childTnLst>
                              <p:par>
                                <p:cTn id="23" presetID="2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内容占位符 2"/>
          <p:cNvSpPr>
            <a:spLocks noGrp="1"/>
          </p:cNvSpPr>
          <p:nvPr>
            <p:ph idx="1"/>
          </p:nvPr>
        </p:nvSpPr>
        <p:spPr>
          <a:xfrm>
            <a:off x="1839342" y="1340768"/>
            <a:ext cx="9021762" cy="4876800"/>
          </a:xfrm>
          <a:noFill/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eaLnBrk="1" hangingPunct="1">
              <a:spcBef>
                <a:spcPct val="50000"/>
              </a:spcBef>
              <a:buFont typeface="Arial" charset="0"/>
              <a:buNone/>
            </a:pPr>
            <a:endParaRPr lang="en-US" altLang="zh-CN" sz="2800" b="1" dirty="0">
              <a:solidFill>
                <a:srgbClr val="000000"/>
              </a:solidFill>
              <a:latin typeface="+mn-ea"/>
            </a:endParaRPr>
          </a:p>
          <a:p>
            <a:pPr eaLnBrk="1" hangingPunct="1">
              <a:spcBef>
                <a:spcPct val="50000"/>
              </a:spcBef>
            </a:pPr>
            <a:r>
              <a:rPr lang="zh-CN" altLang="en-US" b="1" dirty="0">
                <a:solidFill>
                  <a:srgbClr val="000000"/>
                </a:solidFill>
                <a:latin typeface="+mn-ea"/>
              </a:rPr>
              <a:t>链状化合物</a:t>
            </a:r>
            <a:r>
              <a:rPr lang="en-US" altLang="zh-CN" b="1" dirty="0">
                <a:solidFill>
                  <a:srgbClr val="000000"/>
                </a:solidFill>
                <a:latin typeface="+mn-ea"/>
              </a:rPr>
              <a:t>(</a:t>
            </a:r>
            <a:r>
              <a:rPr lang="zh-CN" altLang="en-US" b="1" dirty="0">
                <a:solidFill>
                  <a:srgbClr val="000000"/>
                </a:solidFill>
                <a:latin typeface="+mn-ea"/>
              </a:rPr>
              <a:t>开链化合物</a:t>
            </a:r>
            <a:r>
              <a:rPr lang="en-US" altLang="zh-CN" b="1" dirty="0">
                <a:solidFill>
                  <a:srgbClr val="000000"/>
                </a:solidFill>
                <a:latin typeface="+mn-ea"/>
              </a:rPr>
              <a:t>)</a:t>
            </a:r>
          </a:p>
          <a:p>
            <a:pPr eaLnBrk="1" hangingPunct="1"/>
            <a:endParaRPr lang="en-US" altLang="zh-CN" sz="2800" b="1" dirty="0">
              <a:solidFill>
                <a:srgbClr val="000000"/>
              </a:solidFill>
              <a:latin typeface="+mn-ea"/>
            </a:endParaRPr>
          </a:p>
          <a:p>
            <a:pPr eaLnBrk="1" hangingPunct="1">
              <a:buFont typeface="Arial" charset="0"/>
              <a:buNone/>
            </a:pPr>
            <a:r>
              <a:rPr lang="en-US" altLang="zh-CN" sz="2800" dirty="0">
                <a:latin typeface="+mn-ea"/>
              </a:rPr>
              <a:t>   CH</a:t>
            </a:r>
            <a:r>
              <a:rPr lang="en-US" altLang="zh-CN" sz="2800" baseline="-25000" dirty="0">
                <a:latin typeface="+mn-ea"/>
              </a:rPr>
              <a:t>3</a:t>
            </a:r>
            <a:r>
              <a:rPr lang="en-US" altLang="zh-CN" sz="2800" dirty="0">
                <a:latin typeface="+mn-ea"/>
              </a:rPr>
              <a:t>CH</a:t>
            </a:r>
            <a:r>
              <a:rPr lang="en-US" altLang="zh-CN" sz="2800" baseline="-25000" dirty="0">
                <a:latin typeface="+mn-ea"/>
              </a:rPr>
              <a:t>2</a:t>
            </a:r>
            <a:r>
              <a:rPr lang="en-US" altLang="zh-CN" sz="2800" dirty="0">
                <a:latin typeface="+mn-ea"/>
              </a:rPr>
              <a:t>CH</a:t>
            </a:r>
            <a:r>
              <a:rPr lang="en-US" altLang="zh-CN" sz="2800" baseline="-25000" dirty="0">
                <a:latin typeface="+mn-ea"/>
              </a:rPr>
              <a:t>3</a:t>
            </a:r>
            <a:r>
              <a:rPr lang="en-US" altLang="zh-CN" sz="2800" dirty="0">
                <a:latin typeface="+mn-ea"/>
              </a:rPr>
              <a:t>    CH</a:t>
            </a:r>
            <a:r>
              <a:rPr lang="en-US" altLang="zh-CN" sz="2800" baseline="-25000" dirty="0">
                <a:latin typeface="+mn-ea"/>
              </a:rPr>
              <a:t>3</a:t>
            </a:r>
            <a:r>
              <a:rPr lang="en-US" altLang="zh-CN" sz="2800" dirty="0">
                <a:latin typeface="+mn-ea"/>
              </a:rPr>
              <a:t>CH</a:t>
            </a:r>
            <a:r>
              <a:rPr lang="en-US" altLang="zh-CN" sz="2800" baseline="-25000" dirty="0">
                <a:latin typeface="+mn-ea"/>
              </a:rPr>
              <a:t>2</a:t>
            </a:r>
            <a:r>
              <a:rPr lang="en-US" altLang="zh-CN" sz="2800" dirty="0">
                <a:latin typeface="+mn-ea"/>
              </a:rPr>
              <a:t>OH   CH</a:t>
            </a:r>
            <a:r>
              <a:rPr lang="en-US" altLang="zh-CN" sz="2800" baseline="-25000" dirty="0">
                <a:latin typeface="+mn-ea"/>
              </a:rPr>
              <a:t>3</a:t>
            </a:r>
            <a:r>
              <a:rPr lang="en-US" altLang="zh-CN" sz="2800" dirty="0">
                <a:latin typeface="+mn-ea"/>
              </a:rPr>
              <a:t>CH</a:t>
            </a:r>
            <a:r>
              <a:rPr lang="en-US" altLang="zh-CN" sz="2800" baseline="-25000" dirty="0">
                <a:latin typeface="+mn-ea"/>
              </a:rPr>
              <a:t>2</a:t>
            </a:r>
            <a:r>
              <a:rPr lang="en-US" altLang="zh-CN" sz="2800" dirty="0">
                <a:latin typeface="+mn-ea"/>
              </a:rPr>
              <a:t>OCH</a:t>
            </a:r>
            <a:r>
              <a:rPr lang="en-US" altLang="zh-CN" sz="2800" baseline="-25000" dirty="0">
                <a:latin typeface="+mn-ea"/>
              </a:rPr>
              <a:t>2</a:t>
            </a:r>
            <a:r>
              <a:rPr lang="en-US" altLang="zh-CN" sz="2800" dirty="0">
                <a:latin typeface="+mn-ea"/>
              </a:rPr>
              <a:t>CH</a:t>
            </a:r>
            <a:r>
              <a:rPr lang="en-US" altLang="zh-CN" sz="2800" baseline="-25000" dirty="0">
                <a:latin typeface="+mn-ea"/>
              </a:rPr>
              <a:t>3</a:t>
            </a:r>
          </a:p>
          <a:p>
            <a:pPr eaLnBrk="1" hangingPunct="1">
              <a:buFont typeface="Arial" charset="0"/>
              <a:buNone/>
            </a:pPr>
            <a:endParaRPr lang="en-US" altLang="zh-CN" sz="2800" baseline="-25000" dirty="0">
              <a:latin typeface="+mn-ea"/>
            </a:endParaRPr>
          </a:p>
          <a:p>
            <a:pPr eaLnBrk="1" hangingPunct="1">
              <a:buFont typeface="Arial" charset="0"/>
              <a:buNone/>
            </a:pPr>
            <a:r>
              <a:rPr lang="zh-CN" altLang="zh-CN" sz="2800" dirty="0">
                <a:latin typeface="+mn-ea"/>
              </a:rPr>
              <a:t> </a:t>
            </a:r>
            <a:r>
              <a:rPr lang="en-US" altLang="zh-CN" sz="2800" dirty="0">
                <a:latin typeface="+mn-ea"/>
              </a:rPr>
              <a:t>   </a:t>
            </a:r>
            <a:r>
              <a:rPr lang="zh-CN" altLang="zh-CN" sz="2800" dirty="0">
                <a:latin typeface="+mn-ea"/>
              </a:rPr>
              <a:t>丙烷</a:t>
            </a:r>
            <a:r>
              <a:rPr lang="en-US" altLang="zh-CN" sz="2800" dirty="0">
                <a:latin typeface="+mn-ea"/>
              </a:rPr>
              <a:t>         </a:t>
            </a:r>
            <a:r>
              <a:rPr lang="zh-CN" altLang="zh-CN" sz="2800" dirty="0">
                <a:latin typeface="+mn-ea"/>
              </a:rPr>
              <a:t>乙醇</a:t>
            </a:r>
            <a:r>
              <a:rPr lang="en-US" altLang="zh-CN" sz="2800" dirty="0">
                <a:latin typeface="+mn-ea"/>
              </a:rPr>
              <a:t>      </a:t>
            </a:r>
            <a:r>
              <a:rPr lang="zh-CN" altLang="zh-CN" sz="2800" dirty="0">
                <a:latin typeface="+mn-ea"/>
              </a:rPr>
              <a:t>乙醚</a:t>
            </a:r>
          </a:p>
          <a:p>
            <a:pPr eaLnBrk="1" hangingPunct="1">
              <a:buFont typeface="Arial" charset="0"/>
              <a:buNone/>
            </a:pPr>
            <a:endParaRPr lang="zh-CN" altLang="zh-CN" sz="2800" b="1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91669839-9B9D-4D3B-A4A9-BBC7E743CF00}"/>
              </a:ext>
            </a:extLst>
          </p:cNvPr>
          <p:cNvSpPr/>
          <p:nvPr/>
        </p:nvSpPr>
        <p:spPr>
          <a:xfrm>
            <a:off x="1126877" y="1570939"/>
            <a:ext cx="9721651" cy="371612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54"/>
          <p:cNvGrpSpPr>
            <a:grpSpLocks/>
          </p:cNvGrpSpPr>
          <p:nvPr/>
        </p:nvGrpSpPr>
        <p:grpSpPr bwMode="auto">
          <a:xfrm>
            <a:off x="2413001" y="2060575"/>
            <a:ext cx="2100262" cy="3776663"/>
            <a:chOff x="1357290" y="2428868"/>
            <a:chExt cx="2100258" cy="3776658"/>
          </a:xfrm>
        </p:grpSpPr>
        <p:sp>
          <p:nvSpPr>
            <p:cNvPr id="37" name="AutoShape 3"/>
            <p:cNvSpPr>
              <a:spLocks noChangeArrowheads="1"/>
            </p:cNvSpPr>
            <p:nvPr/>
          </p:nvSpPr>
          <p:spPr bwMode="gray">
            <a:xfrm>
              <a:off x="1357290" y="2428868"/>
              <a:ext cx="2100258" cy="3776658"/>
            </a:xfrm>
            <a:prstGeom prst="rightArrow">
              <a:avLst>
                <a:gd name="adj1" fmla="val 62787"/>
                <a:gd name="adj2" fmla="val 41259"/>
              </a:avLst>
            </a:prstGeom>
            <a:gradFill rotWithShape="1">
              <a:gsLst>
                <a:gs pos="0">
                  <a:schemeClr val="bg2">
                    <a:gamma/>
                    <a:tint val="0"/>
                    <a:invGamma/>
                    <a:alpha val="0"/>
                  </a:schemeClr>
                </a:gs>
                <a:gs pos="100000">
                  <a:schemeClr val="bg2">
                    <a:alpha val="50000"/>
                  </a:schemeClr>
                </a:gs>
              </a:gsLst>
              <a:lin ang="0" scaled="1"/>
            </a:gradFill>
            <a:ln w="19050" cap="rnd" algn="ctr">
              <a:solidFill>
                <a:schemeClr val="bg2"/>
              </a:solidFill>
              <a:prstDash val="sysDot"/>
              <a:miter lim="800000"/>
            </a:ln>
            <a:effectLst/>
          </p:spPr>
          <p:txBody>
            <a:bodyPr wrap="none" anchor="ctr"/>
            <a:lstStyle/>
            <a:p>
              <a:pPr latinLnBrk="1">
                <a:defRPr/>
              </a:pPr>
              <a:endParaRPr lang="zh-CN" altLang="zh-CN" sz="2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ea"/>
                <a:ea typeface="+mn-ea"/>
              </a:endParaRPr>
            </a:p>
          </p:txBody>
        </p:sp>
        <p:sp>
          <p:nvSpPr>
            <p:cNvPr id="24596" name="Text Box 4"/>
            <p:cNvSpPr txBox="1">
              <a:spLocks noChangeArrowheads="1"/>
            </p:cNvSpPr>
            <p:nvPr/>
          </p:nvSpPr>
          <p:spPr bwMode="black">
            <a:xfrm>
              <a:off x="1357290" y="3643304"/>
              <a:ext cx="2000246" cy="12618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latinLnBrk="1"/>
              <a:r>
                <a:rPr lang="zh-CN" altLang="en-US" sz="3600" b="1">
                  <a:solidFill>
                    <a:srgbClr val="006666"/>
                  </a:solidFill>
                  <a:latin typeface="+mn-ea"/>
                  <a:ea typeface="+mn-ea"/>
                </a:rPr>
                <a:t>环状化合物</a:t>
              </a:r>
              <a:r>
                <a:rPr lang="zh-CN" altLang="en-US" sz="4000" b="1">
                  <a:solidFill>
                    <a:srgbClr val="006666"/>
                  </a:solidFill>
                  <a:latin typeface="+mn-ea"/>
                  <a:ea typeface="+mn-ea"/>
                  <a:cs typeface="隶书"/>
                </a:rPr>
                <a:t> </a:t>
              </a:r>
            </a:p>
          </p:txBody>
        </p:sp>
      </p:grpSp>
      <p:sp>
        <p:nvSpPr>
          <p:cNvPr id="39" name="AutoShape 5"/>
          <p:cNvSpPr>
            <a:spLocks noChangeArrowheads="1"/>
          </p:cNvSpPr>
          <p:nvPr/>
        </p:nvSpPr>
        <p:spPr bwMode="auto">
          <a:xfrm>
            <a:off x="4595813" y="1928813"/>
            <a:ext cx="5105400" cy="4191000"/>
          </a:xfrm>
          <a:prstGeom prst="roundRect">
            <a:avLst>
              <a:gd name="adj" fmla="val 3481"/>
            </a:avLst>
          </a:prstGeom>
          <a:noFill/>
          <a:ln w="19050" cap="rnd">
            <a:solidFill>
              <a:schemeClr val="bg2"/>
            </a:solidFill>
            <a:prstDash val="sysDot"/>
            <a:round/>
          </a:ln>
        </p:spPr>
        <p:txBody>
          <a:bodyPr wrap="none" anchor="ctr"/>
          <a:lstStyle/>
          <a:p>
            <a:pPr latinLnBrk="1">
              <a:defRPr/>
            </a:pPr>
            <a:endParaRPr lang="zh-CN" altLang="en-US" sz="2000" b="1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宋体" panose="02010600030101010101" pitchFamily="2" charset="-122"/>
            </a:endParaRPr>
          </a:p>
        </p:txBody>
      </p:sp>
      <p:grpSp>
        <p:nvGrpSpPr>
          <p:cNvPr id="24603" name="Group 27"/>
          <p:cNvGrpSpPr>
            <a:grpSpLocks/>
          </p:cNvGrpSpPr>
          <p:nvPr/>
        </p:nvGrpSpPr>
        <p:grpSpPr bwMode="auto">
          <a:xfrm>
            <a:off x="4686300" y="4318844"/>
            <a:ext cx="4924425" cy="1228725"/>
            <a:chOff x="2887" y="3203"/>
            <a:chExt cx="3102" cy="774"/>
          </a:xfrm>
        </p:grpSpPr>
        <p:grpSp>
          <p:nvGrpSpPr>
            <p:cNvPr id="24602" name="Group 26"/>
            <p:cNvGrpSpPr>
              <a:grpSpLocks/>
            </p:cNvGrpSpPr>
            <p:nvPr/>
          </p:nvGrpSpPr>
          <p:grpSpPr bwMode="auto">
            <a:xfrm>
              <a:off x="2887" y="3203"/>
              <a:ext cx="3102" cy="774"/>
              <a:chOff x="2887" y="3203"/>
              <a:chExt cx="3102" cy="774"/>
            </a:xfrm>
          </p:grpSpPr>
          <p:sp>
            <p:nvSpPr>
              <p:cNvPr id="43" name="AutoShape 13"/>
              <p:cNvSpPr>
                <a:spLocks noChangeArrowheads="1"/>
              </p:cNvSpPr>
              <p:nvPr/>
            </p:nvSpPr>
            <p:spPr bwMode="gray">
              <a:xfrm>
                <a:off x="2917" y="3203"/>
                <a:ext cx="3072" cy="774"/>
              </a:xfrm>
              <a:prstGeom prst="roundRect">
                <a:avLst>
                  <a:gd name="adj" fmla="val 10889"/>
                </a:avLst>
              </a:prstGeom>
              <a:gradFill rotWithShape="1">
                <a:gsLst>
                  <a:gs pos="0">
                    <a:schemeClr val="accent2"/>
                  </a:gs>
                  <a:gs pos="100000">
                    <a:schemeClr val="accent2">
                      <a:gamma/>
                      <a:tint val="21176"/>
                      <a:invGamma/>
                    </a:schemeClr>
                  </a:gs>
                </a:gsLst>
                <a:lin ang="0" scaled="1"/>
              </a:gradFill>
              <a:ln w="38100">
                <a:noFill/>
                <a:round/>
              </a:ln>
              <a:effectLst/>
            </p:spPr>
            <p:txBody>
              <a:bodyPr wrap="none" anchor="ctr"/>
              <a:lstStyle/>
              <a:p>
                <a:pPr latinLnBrk="1">
                  <a:defRPr/>
                </a:pPr>
                <a:endParaRPr lang="zh-CN" altLang="en-US" sz="2000" b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ea"/>
                  <a:ea typeface="+mn-ea"/>
                </a:endParaRPr>
              </a:p>
            </p:txBody>
          </p:sp>
          <p:sp>
            <p:nvSpPr>
              <p:cNvPr id="44" name="AutoShape 14"/>
              <p:cNvSpPr>
                <a:spLocks noChangeArrowheads="1"/>
              </p:cNvSpPr>
              <p:nvPr/>
            </p:nvSpPr>
            <p:spPr bwMode="gray">
              <a:xfrm>
                <a:off x="2887" y="3491"/>
                <a:ext cx="336" cy="240"/>
              </a:xfrm>
              <a:prstGeom prst="rightArrow">
                <a:avLst>
                  <a:gd name="adj1" fmla="val 50000"/>
                  <a:gd name="adj2" fmla="val 58333"/>
                </a:avLst>
              </a:prstGeom>
              <a:solidFill>
                <a:schemeClr val="bg1"/>
              </a:solidFill>
              <a:ln w="9525">
                <a:noFill/>
                <a:miter lim="800000"/>
              </a:ln>
            </p:spPr>
            <p:txBody>
              <a:bodyPr wrap="none" anchor="ctr"/>
              <a:lstStyle/>
              <a:p>
                <a:pPr latinLnBrk="1">
                  <a:defRPr/>
                </a:pPr>
                <a:endParaRPr lang="zh-CN" altLang="en-US" sz="2000" b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ea"/>
                  <a:ea typeface="+mn-ea"/>
                </a:endParaRPr>
              </a:p>
            </p:txBody>
          </p:sp>
        </p:grpSp>
        <p:sp>
          <p:nvSpPr>
            <p:cNvPr id="24592" name="Text Box 15"/>
            <p:cNvSpPr txBox="1">
              <a:spLocks noChangeArrowheads="1"/>
            </p:cNvSpPr>
            <p:nvPr/>
          </p:nvSpPr>
          <p:spPr bwMode="gray">
            <a:xfrm>
              <a:off x="3323" y="3466"/>
              <a:ext cx="2540" cy="2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ts val="1800"/>
                </a:spcBef>
              </a:pPr>
              <a:r>
                <a:rPr lang="zh-CN" altLang="en-US" sz="2400" b="1" dirty="0">
                  <a:solidFill>
                    <a:srgbClr val="800080"/>
                  </a:solidFill>
                  <a:latin typeface="+mn-ea"/>
                  <a:ea typeface="+mn-ea"/>
                </a:rPr>
                <a:t>杂环化合物</a:t>
              </a:r>
            </a:p>
          </p:txBody>
        </p:sp>
      </p:grpSp>
      <p:grpSp>
        <p:nvGrpSpPr>
          <p:cNvPr id="24604" name="Group 28"/>
          <p:cNvGrpSpPr>
            <a:grpSpLocks/>
          </p:cNvGrpSpPr>
          <p:nvPr/>
        </p:nvGrpSpPr>
        <p:grpSpPr bwMode="auto">
          <a:xfrm>
            <a:off x="4511675" y="2060575"/>
            <a:ext cx="4924425" cy="1228725"/>
            <a:chOff x="2943" y="1311"/>
            <a:chExt cx="3102" cy="774"/>
          </a:xfrm>
        </p:grpSpPr>
        <p:sp>
          <p:nvSpPr>
            <p:cNvPr id="53" name="AutoShape 7"/>
            <p:cNvSpPr>
              <a:spLocks noChangeArrowheads="1"/>
            </p:cNvSpPr>
            <p:nvPr/>
          </p:nvSpPr>
          <p:spPr bwMode="gray">
            <a:xfrm>
              <a:off x="2973" y="1311"/>
              <a:ext cx="3072" cy="774"/>
            </a:xfrm>
            <a:prstGeom prst="roundRect">
              <a:avLst>
                <a:gd name="adj" fmla="val 10889"/>
              </a:avLst>
            </a:prstGeom>
            <a:gradFill rotWithShape="1">
              <a:gsLst>
                <a:gs pos="0">
                  <a:schemeClr val="accent1"/>
                </a:gs>
                <a:gs pos="100000">
                  <a:schemeClr val="accent1">
                    <a:gamma/>
                    <a:tint val="21176"/>
                    <a:invGamma/>
                  </a:schemeClr>
                </a:gs>
              </a:gsLst>
              <a:lin ang="0" scaled="1"/>
            </a:gradFill>
            <a:ln w="38100">
              <a:noFill/>
              <a:round/>
            </a:ln>
            <a:effectLst/>
          </p:spPr>
          <p:txBody>
            <a:bodyPr wrap="none" anchor="ctr"/>
            <a:lstStyle/>
            <a:p>
              <a:pPr latinLnBrk="1">
                <a:defRPr/>
              </a:pPr>
              <a:endParaRPr lang="zh-CN" altLang="en-US" sz="2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宋体" panose="02010600030101010101" pitchFamily="2" charset="-122"/>
              </a:endParaRPr>
            </a:p>
          </p:txBody>
        </p:sp>
        <p:sp>
          <p:nvSpPr>
            <p:cNvPr id="54" name="AutoShape 8"/>
            <p:cNvSpPr>
              <a:spLocks noChangeArrowheads="1"/>
            </p:cNvSpPr>
            <p:nvPr/>
          </p:nvSpPr>
          <p:spPr bwMode="gray">
            <a:xfrm>
              <a:off x="2943" y="1599"/>
              <a:ext cx="336" cy="240"/>
            </a:xfrm>
            <a:prstGeom prst="rightArrow">
              <a:avLst>
                <a:gd name="adj1" fmla="val 50000"/>
                <a:gd name="adj2" fmla="val 58333"/>
              </a:avLst>
            </a:prstGeom>
            <a:solidFill>
              <a:schemeClr val="bg1"/>
            </a:solidFill>
            <a:ln w="9525">
              <a:noFill/>
              <a:miter lim="800000"/>
            </a:ln>
          </p:spPr>
          <p:txBody>
            <a:bodyPr wrap="none" anchor="ctr"/>
            <a:lstStyle/>
            <a:p>
              <a:pPr latinLnBrk="1">
                <a:defRPr/>
              </a:pPr>
              <a:endParaRPr lang="zh-CN" altLang="en-US" sz="2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宋体" panose="02010600030101010101" pitchFamily="2" charset="-122"/>
              </a:endParaRPr>
            </a:p>
          </p:txBody>
        </p:sp>
      </p:grpSp>
      <p:sp>
        <p:nvSpPr>
          <p:cNvPr id="24584" name="Text Box 17"/>
          <p:cNvSpPr txBox="1">
            <a:spLocks noChangeArrowheads="1"/>
          </p:cNvSpPr>
          <p:nvPr/>
        </p:nvSpPr>
        <p:spPr bwMode="gray">
          <a:xfrm>
            <a:off x="5081588" y="2448852"/>
            <a:ext cx="403225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ts val="1800"/>
              </a:spcBef>
            </a:pPr>
            <a:r>
              <a:rPr lang="zh-CN" altLang="en-US" sz="2400" b="1" dirty="0">
                <a:solidFill>
                  <a:srgbClr val="3333CC"/>
                </a:solidFill>
                <a:latin typeface="+mn-ea"/>
                <a:ea typeface="+mn-ea"/>
              </a:rPr>
              <a:t>碳环化合物</a:t>
            </a:r>
          </a:p>
        </p:txBody>
      </p:sp>
      <p:sp>
        <p:nvSpPr>
          <p:cNvPr id="130063" name="AutoShape 15"/>
          <p:cNvSpPr>
            <a:spLocks/>
          </p:cNvSpPr>
          <p:nvPr/>
        </p:nvSpPr>
        <p:spPr bwMode="auto">
          <a:xfrm>
            <a:off x="6779419" y="2139421"/>
            <a:ext cx="381000" cy="1066800"/>
          </a:xfrm>
          <a:prstGeom prst="leftBrace">
            <a:avLst>
              <a:gd name="adj1" fmla="val 23333"/>
              <a:gd name="adj2" fmla="val 50000"/>
            </a:avLst>
          </a:prstGeom>
          <a:noFill/>
          <a:ln w="28575">
            <a:solidFill>
              <a:srgbClr val="6633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zh-CN" altLang="zh-CN"/>
          </a:p>
        </p:txBody>
      </p:sp>
      <p:sp>
        <p:nvSpPr>
          <p:cNvPr id="24600" name="Rectangle 24"/>
          <p:cNvSpPr>
            <a:spLocks noChangeArrowheads="1"/>
          </p:cNvSpPr>
          <p:nvPr/>
        </p:nvSpPr>
        <p:spPr bwMode="auto">
          <a:xfrm>
            <a:off x="7252494" y="2860014"/>
            <a:ext cx="20224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zh-CN" altLang="en-US" sz="2400" b="1" dirty="0">
                <a:solidFill>
                  <a:srgbClr val="006666"/>
                </a:solidFill>
                <a:latin typeface="+mn-ea"/>
                <a:ea typeface="+mn-ea"/>
              </a:rPr>
              <a:t>芳香族化合物</a:t>
            </a:r>
          </a:p>
        </p:txBody>
      </p:sp>
      <p:sp>
        <p:nvSpPr>
          <p:cNvPr id="24601" name="Rectangle 25"/>
          <p:cNvSpPr>
            <a:spLocks noChangeArrowheads="1"/>
          </p:cNvSpPr>
          <p:nvPr/>
        </p:nvSpPr>
        <p:spPr bwMode="auto">
          <a:xfrm>
            <a:off x="7204869" y="1971014"/>
            <a:ext cx="20224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zh-CN" altLang="en-US" sz="2400" b="1" dirty="0">
                <a:solidFill>
                  <a:srgbClr val="006666"/>
                </a:solidFill>
                <a:latin typeface="+mn-ea"/>
                <a:ea typeface="+mn-ea"/>
              </a:rPr>
              <a:t>脂环族化合物</a:t>
            </a:r>
          </a:p>
        </p:txBody>
      </p: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F1740D3F-92A7-4E49-B245-10CF7EBB549A}"/>
              </a:ext>
            </a:extLst>
          </p:cNvPr>
          <p:cNvGrpSpPr/>
          <p:nvPr/>
        </p:nvGrpSpPr>
        <p:grpSpPr>
          <a:xfrm>
            <a:off x="179514" y="620688"/>
            <a:ext cx="5268414" cy="587152"/>
            <a:chOff x="535865" y="609600"/>
            <a:chExt cx="5268414" cy="587152"/>
          </a:xfrm>
        </p:grpSpPr>
        <p:sp>
          <p:nvSpPr>
            <p:cNvPr id="20" name="矩形 19">
              <a:extLst>
                <a:ext uri="{FF2B5EF4-FFF2-40B4-BE49-F238E27FC236}">
                  <a16:creationId xmlns:a16="http://schemas.microsoft.com/office/drawing/2014/main" id="{FCC8CEF2-12AB-4F8F-983C-807F6B68DE41}"/>
                </a:ext>
              </a:extLst>
            </p:cNvPr>
            <p:cNvSpPr/>
            <p:nvPr/>
          </p:nvSpPr>
          <p:spPr>
            <a:xfrm>
              <a:off x="1341143" y="609600"/>
              <a:ext cx="4463136" cy="587152"/>
            </a:xfrm>
            <a:prstGeom prst="rect">
              <a:avLst/>
            </a:prstGeom>
            <a:noFill/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21" name="矩形 20">
              <a:extLst>
                <a:ext uri="{FF2B5EF4-FFF2-40B4-BE49-F238E27FC236}">
                  <a16:creationId xmlns:a16="http://schemas.microsoft.com/office/drawing/2014/main" id="{3BD645AB-36DC-47E1-80DE-F88593F53722}"/>
                </a:ext>
              </a:extLst>
            </p:cNvPr>
            <p:cNvSpPr/>
            <p:nvPr/>
          </p:nvSpPr>
          <p:spPr>
            <a:xfrm>
              <a:off x="535865" y="609600"/>
              <a:ext cx="139571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2" name="矩形 21">
              <a:extLst>
                <a:ext uri="{FF2B5EF4-FFF2-40B4-BE49-F238E27FC236}">
                  <a16:creationId xmlns:a16="http://schemas.microsoft.com/office/drawing/2014/main" id="{1608F407-64FB-47E7-9ECE-CF5BE4EC25A2}"/>
                </a:ext>
              </a:extLst>
            </p:cNvPr>
            <p:cNvSpPr/>
            <p:nvPr/>
          </p:nvSpPr>
          <p:spPr>
            <a:xfrm>
              <a:off x="740061" y="609600"/>
              <a:ext cx="139571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3" name="矩形 22">
              <a:extLst>
                <a:ext uri="{FF2B5EF4-FFF2-40B4-BE49-F238E27FC236}">
                  <a16:creationId xmlns:a16="http://schemas.microsoft.com/office/drawing/2014/main" id="{D51A3917-2648-4CF2-8ADF-DD156DE1FF78}"/>
                </a:ext>
              </a:extLst>
            </p:cNvPr>
            <p:cNvSpPr/>
            <p:nvPr/>
          </p:nvSpPr>
          <p:spPr>
            <a:xfrm>
              <a:off x="942606" y="609600"/>
              <a:ext cx="333913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4" name="Text Box 15">
            <a:extLst>
              <a:ext uri="{FF2B5EF4-FFF2-40B4-BE49-F238E27FC236}">
                <a16:creationId xmlns:a16="http://schemas.microsoft.com/office/drawing/2014/main" id="{36C531AF-6ED4-4008-BDA1-FC50ACCAA6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14776" y="574653"/>
            <a:ext cx="4433152" cy="633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3200" b="1" dirty="0">
                <a:latin typeface="+mj-ea"/>
                <a:ea typeface="+mj-ea"/>
              </a:rPr>
              <a:t>环状化合物</a:t>
            </a:r>
            <a:endParaRPr lang="en-US" altLang="zh-CN" sz="3200" b="1" dirty="0">
              <a:latin typeface="+mj-ea"/>
              <a:ea typeface="+mj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600" decel="100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600" decel="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600" decel="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600" decel="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400" accel="100000" fill="hold">
                                          <p:stCondLst>
                                            <p:cond delay="16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400" accel="100000" fill="hold">
                                          <p:stCondLst>
                                            <p:cond delay="16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8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6" dur="2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00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130063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1981200" y="1336675"/>
            <a:ext cx="8229600" cy="4876800"/>
          </a:xfr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eaLnBrk="1" hangingPunct="1">
              <a:lnSpc>
                <a:spcPct val="90000"/>
              </a:lnSpc>
              <a:spcBef>
                <a:spcPct val="50000"/>
              </a:spcBef>
            </a:pPr>
            <a:endParaRPr lang="zh-CN" altLang="en-US" sz="2800" b="1" dirty="0">
              <a:solidFill>
                <a:srgbClr val="000000"/>
              </a:solidFill>
              <a:latin typeface="+mn-ea"/>
            </a:endParaRPr>
          </a:p>
          <a:p>
            <a:pPr eaLnBrk="1" hangingPunct="1">
              <a:lnSpc>
                <a:spcPct val="90000"/>
              </a:lnSpc>
              <a:spcBef>
                <a:spcPct val="50000"/>
              </a:spcBef>
            </a:pPr>
            <a:r>
              <a:rPr lang="zh-CN" altLang="en-US" sz="2800" b="1" dirty="0">
                <a:solidFill>
                  <a:srgbClr val="000000"/>
                </a:solidFill>
                <a:latin typeface="+mn-ea"/>
              </a:rPr>
              <a:t>脂环族化合物：</a:t>
            </a:r>
            <a:r>
              <a:rPr lang="zh-CN" altLang="zh-CN" sz="2800" b="1" dirty="0">
                <a:latin typeface="+mn-ea"/>
              </a:rPr>
              <a:t>性质类似于开链化合物的碳环化合物</a:t>
            </a:r>
            <a:endParaRPr lang="zh-CN" altLang="en-US" sz="2800" b="1" dirty="0">
              <a:solidFill>
                <a:srgbClr val="000000"/>
              </a:solidFill>
              <a:latin typeface="+mn-ea"/>
            </a:endParaRPr>
          </a:p>
          <a:p>
            <a:pPr eaLnBrk="1" hangingPunct="1">
              <a:lnSpc>
                <a:spcPct val="90000"/>
              </a:lnSpc>
              <a:spcBef>
                <a:spcPct val="50000"/>
              </a:spcBef>
            </a:pPr>
            <a:endParaRPr lang="zh-CN" altLang="en-US" sz="2800" b="1" dirty="0">
              <a:solidFill>
                <a:srgbClr val="000000"/>
              </a:solidFill>
              <a:latin typeface="+mn-ea"/>
            </a:endParaRPr>
          </a:p>
          <a:p>
            <a:pPr eaLnBrk="1" hangingPunct="1">
              <a:lnSpc>
                <a:spcPct val="90000"/>
              </a:lnSpc>
              <a:spcBef>
                <a:spcPct val="50000"/>
              </a:spcBef>
            </a:pPr>
            <a:endParaRPr lang="zh-CN" altLang="en-US" sz="2800" b="1" dirty="0">
              <a:solidFill>
                <a:srgbClr val="000000"/>
              </a:solidFill>
              <a:latin typeface="+mn-ea"/>
            </a:endParaRPr>
          </a:p>
          <a:p>
            <a:pPr eaLnBrk="1" hangingPunct="1">
              <a:lnSpc>
                <a:spcPct val="90000"/>
              </a:lnSpc>
              <a:spcBef>
                <a:spcPct val="50000"/>
              </a:spcBef>
            </a:pPr>
            <a:endParaRPr lang="en-US" altLang="zh-CN" sz="2800" b="1" dirty="0">
              <a:latin typeface="+mn-ea"/>
            </a:endParaRPr>
          </a:p>
          <a:p>
            <a:pPr marL="0" indent="0" eaLnBrk="1" hangingPunct="1">
              <a:lnSpc>
                <a:spcPct val="90000"/>
              </a:lnSpc>
              <a:spcBef>
                <a:spcPct val="50000"/>
              </a:spcBef>
              <a:buNone/>
            </a:pPr>
            <a:r>
              <a:rPr lang="en-US" altLang="zh-CN" sz="2800" b="1" dirty="0">
                <a:latin typeface="+mn-ea"/>
              </a:rPr>
              <a:t> </a:t>
            </a:r>
            <a:r>
              <a:rPr lang="zh-CN" altLang="zh-CN" sz="2800" b="1" dirty="0">
                <a:latin typeface="+mn-ea"/>
              </a:rPr>
              <a:t> </a:t>
            </a:r>
            <a:r>
              <a:rPr lang="en-US" altLang="zh-CN" sz="2800" b="1" dirty="0">
                <a:latin typeface="+mn-ea"/>
              </a:rPr>
              <a:t>    </a:t>
            </a:r>
            <a:r>
              <a:rPr lang="zh-CN" altLang="zh-CN" sz="2800" b="1" dirty="0">
                <a:latin typeface="+mn-ea"/>
              </a:rPr>
              <a:t>环</a:t>
            </a:r>
            <a:r>
              <a:rPr lang="zh-CN" altLang="en-US" sz="2800" b="1" dirty="0">
                <a:latin typeface="+mn-ea"/>
              </a:rPr>
              <a:t>丁</a:t>
            </a:r>
            <a:r>
              <a:rPr lang="zh-CN" altLang="zh-CN" sz="2800" b="1" dirty="0">
                <a:latin typeface="+mn-ea"/>
              </a:rPr>
              <a:t>烷</a:t>
            </a:r>
            <a:r>
              <a:rPr lang="zh-CN" altLang="en-US" sz="2800" b="1" dirty="0">
                <a:latin typeface="+mn-ea"/>
              </a:rPr>
              <a:t>  </a:t>
            </a:r>
            <a:r>
              <a:rPr lang="en-US" altLang="zh-CN" sz="2800" b="1" dirty="0">
                <a:latin typeface="+mn-ea"/>
              </a:rPr>
              <a:t>   </a:t>
            </a:r>
            <a:r>
              <a:rPr lang="zh-CN" altLang="zh-CN" sz="2800" b="1" dirty="0">
                <a:latin typeface="+mn-ea"/>
              </a:rPr>
              <a:t>环戊烷</a:t>
            </a:r>
            <a:r>
              <a:rPr lang="zh-CN" altLang="en-US" sz="2800" b="1" dirty="0">
                <a:latin typeface="+mn-ea"/>
              </a:rPr>
              <a:t> </a:t>
            </a:r>
            <a:r>
              <a:rPr lang="en-US" altLang="zh-CN" sz="2800" b="1" dirty="0">
                <a:latin typeface="+mn-ea"/>
              </a:rPr>
              <a:t>        </a:t>
            </a:r>
            <a:r>
              <a:rPr lang="zh-CN" altLang="zh-CN" sz="2800" b="1" dirty="0">
                <a:latin typeface="+mn-ea"/>
              </a:rPr>
              <a:t>环己烷 </a:t>
            </a:r>
            <a:br>
              <a:rPr lang="zh-CN" altLang="en-US" sz="2800" b="1" dirty="0">
                <a:solidFill>
                  <a:srgbClr val="000000"/>
                </a:solidFill>
                <a:latin typeface="+mn-ea"/>
              </a:rPr>
            </a:br>
            <a:endParaRPr lang="zh-CN" altLang="en-US" sz="2800" b="1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25603" name="Picture 13" descr="2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36081" y="3140968"/>
            <a:ext cx="6319838" cy="162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1919288" y="1628775"/>
            <a:ext cx="9073256" cy="4608537"/>
          </a:xfrm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eaLnBrk="1" hangingPunct="1">
              <a:spcBef>
                <a:spcPct val="50000"/>
              </a:spcBef>
            </a:pPr>
            <a:endParaRPr lang="zh-CN" altLang="en-US" sz="3800" b="1" dirty="0">
              <a:solidFill>
                <a:srgbClr val="000000"/>
              </a:solidFill>
              <a:latin typeface="黑体" pitchFamily="49" charset="-122"/>
            </a:endParaRPr>
          </a:p>
          <a:p>
            <a:pPr eaLnBrk="1" hangingPunct="1">
              <a:spcBef>
                <a:spcPct val="50000"/>
              </a:spcBef>
            </a:pPr>
            <a:r>
              <a:rPr lang="en-US" altLang="zh-CN" sz="2800" b="1" dirty="0">
                <a:latin typeface="+mn-ea"/>
              </a:rPr>
              <a:t>    </a:t>
            </a:r>
            <a:r>
              <a:rPr lang="zh-CN" altLang="zh-CN" sz="2800" b="1" dirty="0">
                <a:latin typeface="+mn-ea"/>
              </a:rPr>
              <a:t>大多数都含有芳环，具有与开链化合物和脂环化合物不同的化学特性</a:t>
            </a:r>
            <a:endParaRPr lang="zh-CN" altLang="en-US" sz="2800" b="1" dirty="0">
              <a:solidFill>
                <a:srgbClr val="000000"/>
              </a:solidFill>
              <a:latin typeface="+mn-ea"/>
            </a:endParaRPr>
          </a:p>
          <a:p>
            <a:pPr eaLnBrk="1" hangingPunct="1">
              <a:spcBef>
                <a:spcPct val="50000"/>
              </a:spcBef>
            </a:pPr>
            <a:endParaRPr lang="zh-CN" altLang="en-US" sz="2800" b="1" dirty="0">
              <a:solidFill>
                <a:srgbClr val="000000"/>
              </a:solidFill>
              <a:latin typeface="+mn-ea"/>
            </a:endParaRPr>
          </a:p>
          <a:p>
            <a:pPr eaLnBrk="1" hangingPunct="1">
              <a:spcBef>
                <a:spcPct val="50000"/>
              </a:spcBef>
            </a:pPr>
            <a:endParaRPr lang="en-US" altLang="zh-CN" sz="2800" dirty="0">
              <a:latin typeface="+mn-ea"/>
            </a:endParaRPr>
          </a:p>
          <a:p>
            <a:pPr marL="0" indent="0" eaLnBrk="1" hangingPunct="1">
              <a:spcBef>
                <a:spcPct val="50000"/>
              </a:spcBef>
              <a:buNone/>
            </a:pPr>
            <a:endParaRPr lang="en-US" altLang="zh-CN" sz="2800" dirty="0">
              <a:latin typeface="+mn-ea"/>
            </a:endParaRPr>
          </a:p>
          <a:p>
            <a:pPr marL="0" indent="0" eaLnBrk="1" hangingPunct="1">
              <a:spcBef>
                <a:spcPct val="50000"/>
              </a:spcBef>
              <a:buNone/>
            </a:pPr>
            <a:r>
              <a:rPr lang="en-US" altLang="zh-CN" sz="2800" dirty="0">
                <a:latin typeface="+mn-ea"/>
              </a:rPr>
              <a:t>            </a:t>
            </a:r>
            <a:r>
              <a:rPr lang="zh-CN" altLang="zh-CN" sz="2800" dirty="0">
                <a:latin typeface="+mn-ea"/>
              </a:rPr>
              <a:t>苯</a:t>
            </a:r>
            <a:r>
              <a:rPr lang="en-US" altLang="zh-CN" sz="2800" dirty="0">
                <a:latin typeface="+mn-ea"/>
              </a:rPr>
              <a:t>           </a:t>
            </a:r>
            <a:r>
              <a:rPr lang="zh-CN" altLang="zh-CN" sz="2800" dirty="0">
                <a:latin typeface="+mn-ea"/>
              </a:rPr>
              <a:t>萘</a:t>
            </a:r>
            <a:br>
              <a:rPr lang="zh-CN" altLang="en-US" sz="2800" b="1" dirty="0">
                <a:solidFill>
                  <a:srgbClr val="000000"/>
                </a:solidFill>
                <a:latin typeface="+mn-ea"/>
              </a:rPr>
            </a:br>
            <a:endParaRPr lang="zh-CN" altLang="en-US" sz="2800" b="1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27651" name="Picture 14" descr="2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75050" y="3573463"/>
            <a:ext cx="3990975" cy="151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7" name="组合 6">
            <a:extLst>
              <a:ext uri="{FF2B5EF4-FFF2-40B4-BE49-F238E27FC236}">
                <a16:creationId xmlns:a16="http://schemas.microsoft.com/office/drawing/2014/main" id="{17FAD312-0403-4ECA-818D-45DDCC196AEE}"/>
              </a:ext>
            </a:extLst>
          </p:cNvPr>
          <p:cNvGrpSpPr/>
          <p:nvPr/>
        </p:nvGrpSpPr>
        <p:grpSpPr>
          <a:xfrm>
            <a:off x="179514" y="620688"/>
            <a:ext cx="5268414" cy="587152"/>
            <a:chOff x="535865" y="609600"/>
            <a:chExt cx="5268414" cy="587152"/>
          </a:xfrm>
        </p:grpSpPr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6240ED75-2A6E-452C-AB78-20143880D868}"/>
                </a:ext>
              </a:extLst>
            </p:cNvPr>
            <p:cNvSpPr/>
            <p:nvPr/>
          </p:nvSpPr>
          <p:spPr>
            <a:xfrm>
              <a:off x="1341143" y="609600"/>
              <a:ext cx="4463136" cy="587152"/>
            </a:xfrm>
            <a:prstGeom prst="rect">
              <a:avLst/>
            </a:prstGeom>
            <a:noFill/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50551B5D-1140-42A6-862E-496F7CF4B677}"/>
                </a:ext>
              </a:extLst>
            </p:cNvPr>
            <p:cNvSpPr/>
            <p:nvPr/>
          </p:nvSpPr>
          <p:spPr>
            <a:xfrm>
              <a:off x="535865" y="609600"/>
              <a:ext cx="139571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09B764D9-6BFF-46AC-BBCA-1B4722DD141A}"/>
                </a:ext>
              </a:extLst>
            </p:cNvPr>
            <p:cNvSpPr/>
            <p:nvPr/>
          </p:nvSpPr>
          <p:spPr>
            <a:xfrm>
              <a:off x="740061" y="609600"/>
              <a:ext cx="139571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55D34726-5630-411F-9BA1-8298EDDD9E57}"/>
                </a:ext>
              </a:extLst>
            </p:cNvPr>
            <p:cNvSpPr/>
            <p:nvPr/>
          </p:nvSpPr>
          <p:spPr>
            <a:xfrm>
              <a:off x="942606" y="609600"/>
              <a:ext cx="333913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2" name="Text Box 15">
            <a:extLst>
              <a:ext uri="{FF2B5EF4-FFF2-40B4-BE49-F238E27FC236}">
                <a16:creationId xmlns:a16="http://schemas.microsoft.com/office/drawing/2014/main" id="{AB77A1A8-B74C-4098-8139-9DC7E69200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14776" y="574653"/>
            <a:ext cx="4433152" cy="633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3200" b="1" dirty="0">
                <a:latin typeface="+mj-ea"/>
                <a:ea typeface="+mj-ea"/>
              </a:rPr>
              <a:t>芳香族化合物</a:t>
            </a:r>
            <a:endParaRPr lang="en-US" altLang="zh-CN" sz="3200" b="1" dirty="0"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1487488" y="1484313"/>
            <a:ext cx="9073008" cy="4536975"/>
          </a:xfr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eaLnBrk="1" hangingPunct="1">
              <a:spcBef>
                <a:spcPct val="50000"/>
              </a:spcBef>
            </a:pPr>
            <a:endParaRPr lang="en-US" altLang="zh-CN" sz="2800" b="1" dirty="0">
              <a:latin typeface="+mn-ea"/>
            </a:endParaRPr>
          </a:p>
          <a:p>
            <a:pPr eaLnBrk="1" hangingPunct="1">
              <a:spcBef>
                <a:spcPct val="50000"/>
              </a:spcBef>
            </a:pPr>
            <a:r>
              <a:rPr lang="zh-CN" altLang="en-US" sz="2800" b="1" dirty="0">
                <a:latin typeface="+mn-ea"/>
              </a:rPr>
              <a:t>组成环的原子除碳原子外，还有其他元素的原子，常见的有</a:t>
            </a:r>
            <a:r>
              <a:rPr lang="en-US" altLang="zh-CN" sz="2800" b="1" dirty="0">
                <a:latin typeface="+mn-ea"/>
              </a:rPr>
              <a:t>O</a:t>
            </a:r>
            <a:r>
              <a:rPr lang="zh-CN" altLang="en-US" sz="2800" b="1" dirty="0">
                <a:latin typeface="+mn-ea"/>
              </a:rPr>
              <a:t>、</a:t>
            </a:r>
            <a:r>
              <a:rPr lang="en-US" altLang="zh-CN" sz="2800" b="1" dirty="0">
                <a:latin typeface="+mn-ea"/>
              </a:rPr>
              <a:t>S</a:t>
            </a:r>
            <a:r>
              <a:rPr lang="zh-CN" altLang="en-US" sz="2800" b="1" dirty="0">
                <a:latin typeface="+mn-ea"/>
              </a:rPr>
              <a:t>、</a:t>
            </a:r>
            <a:r>
              <a:rPr lang="en-US" altLang="zh-CN" sz="2800" b="1" dirty="0">
                <a:latin typeface="+mn-ea"/>
              </a:rPr>
              <a:t>N</a:t>
            </a:r>
            <a:r>
              <a:rPr lang="zh-CN" altLang="en-US" sz="2800" b="1" dirty="0">
                <a:latin typeface="+mn-ea"/>
              </a:rPr>
              <a:t>等原子，被称为杂原子。</a:t>
            </a:r>
            <a:endParaRPr lang="zh-CN" altLang="en-US" b="1" dirty="0">
              <a:solidFill>
                <a:srgbClr val="000000"/>
              </a:solidFill>
              <a:latin typeface="+mn-ea"/>
            </a:endParaRPr>
          </a:p>
          <a:p>
            <a:pPr eaLnBrk="1" hangingPunct="1">
              <a:spcBef>
                <a:spcPct val="50000"/>
              </a:spcBef>
            </a:pPr>
            <a:endParaRPr lang="en-US" altLang="zh-CN" sz="2800" dirty="0"/>
          </a:p>
          <a:p>
            <a:pPr marL="0" indent="0" eaLnBrk="1" hangingPunct="1">
              <a:spcBef>
                <a:spcPct val="50000"/>
              </a:spcBef>
              <a:buNone/>
            </a:pPr>
            <a:br>
              <a:rPr lang="zh-CN" altLang="en-US" sz="2800" b="1" dirty="0">
                <a:solidFill>
                  <a:srgbClr val="000000"/>
                </a:solidFill>
                <a:latin typeface="黑体" pitchFamily="49" charset="-122"/>
              </a:rPr>
            </a:br>
            <a:endParaRPr lang="zh-CN" altLang="en-US" sz="2800" b="1" dirty="0">
              <a:solidFill>
                <a:srgbClr val="000000"/>
              </a:solidFill>
              <a:latin typeface="黑体" pitchFamily="49" charset="-122"/>
            </a:endParaRPr>
          </a:p>
        </p:txBody>
      </p:sp>
      <p:pic>
        <p:nvPicPr>
          <p:cNvPr id="29699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61779" y="3573462"/>
            <a:ext cx="4924425" cy="180022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pSp>
        <p:nvGrpSpPr>
          <p:cNvPr id="7" name="组合 6">
            <a:extLst>
              <a:ext uri="{FF2B5EF4-FFF2-40B4-BE49-F238E27FC236}">
                <a16:creationId xmlns:a16="http://schemas.microsoft.com/office/drawing/2014/main" id="{939E5536-C376-437B-9823-1BB8283A5087}"/>
              </a:ext>
            </a:extLst>
          </p:cNvPr>
          <p:cNvGrpSpPr/>
          <p:nvPr/>
        </p:nvGrpSpPr>
        <p:grpSpPr>
          <a:xfrm>
            <a:off x="179514" y="620688"/>
            <a:ext cx="5268414" cy="587152"/>
            <a:chOff x="535865" y="609600"/>
            <a:chExt cx="5268414" cy="587152"/>
          </a:xfrm>
        </p:grpSpPr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A034DBE8-E96E-4E38-B685-2B3FB231D160}"/>
                </a:ext>
              </a:extLst>
            </p:cNvPr>
            <p:cNvSpPr/>
            <p:nvPr/>
          </p:nvSpPr>
          <p:spPr>
            <a:xfrm>
              <a:off x="1341143" y="609600"/>
              <a:ext cx="4463136" cy="587152"/>
            </a:xfrm>
            <a:prstGeom prst="rect">
              <a:avLst/>
            </a:prstGeom>
            <a:noFill/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447A9841-C8CE-45A1-9F3D-861CB5FD81D0}"/>
                </a:ext>
              </a:extLst>
            </p:cNvPr>
            <p:cNvSpPr/>
            <p:nvPr/>
          </p:nvSpPr>
          <p:spPr>
            <a:xfrm>
              <a:off x="535865" y="609600"/>
              <a:ext cx="139571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F4ADAE14-EAFA-49DB-8628-D8F2DE10BF6C}"/>
                </a:ext>
              </a:extLst>
            </p:cNvPr>
            <p:cNvSpPr/>
            <p:nvPr/>
          </p:nvSpPr>
          <p:spPr>
            <a:xfrm>
              <a:off x="740061" y="609600"/>
              <a:ext cx="139571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4A783B53-906C-4120-AAD2-CDDE64F2DB19}"/>
                </a:ext>
              </a:extLst>
            </p:cNvPr>
            <p:cNvSpPr/>
            <p:nvPr/>
          </p:nvSpPr>
          <p:spPr>
            <a:xfrm>
              <a:off x="942606" y="609600"/>
              <a:ext cx="333913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2" name="Text Box 15">
            <a:extLst>
              <a:ext uri="{FF2B5EF4-FFF2-40B4-BE49-F238E27FC236}">
                <a16:creationId xmlns:a16="http://schemas.microsoft.com/office/drawing/2014/main" id="{4B7BA35F-E9D1-4377-8A0E-AABBDE4E1C6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14776" y="574653"/>
            <a:ext cx="4433152" cy="633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3200" b="1" dirty="0">
                <a:latin typeface="+mj-ea"/>
                <a:ea typeface="+mj-ea"/>
              </a:rPr>
              <a:t>杂环化合物</a:t>
            </a:r>
            <a:endParaRPr lang="en-US" altLang="zh-CN" sz="3200" b="1" dirty="0"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3"/>
          <p:cNvSpPr>
            <a:spLocks noGrp="1" noChangeArrowheads="1"/>
          </p:cNvSpPr>
          <p:nvPr>
            <p:ph idx="1"/>
          </p:nvPr>
        </p:nvSpPr>
        <p:spPr>
          <a:xfrm>
            <a:off x="1127448" y="1844824"/>
            <a:ext cx="9937104" cy="3240360"/>
          </a:xfr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eaLnBrk="1" hangingPunct="1"/>
            <a:endParaRPr lang="zh-CN" altLang="zh-CN" sz="2800" b="1" dirty="0">
              <a:latin typeface="+mn-ea"/>
            </a:endParaRPr>
          </a:p>
          <a:p>
            <a:pPr eaLnBrk="1" hangingPunct="1"/>
            <a:r>
              <a:rPr lang="zh-CN" altLang="zh-CN" sz="2800" b="1" dirty="0">
                <a:latin typeface="+mn-ea"/>
              </a:rPr>
              <a:t>官能团</a:t>
            </a:r>
            <a:r>
              <a:rPr lang="zh-CN" altLang="en-US" sz="2800" b="1" dirty="0">
                <a:latin typeface="+mn-ea"/>
              </a:rPr>
              <a:t>：</a:t>
            </a:r>
            <a:r>
              <a:rPr lang="zh-CN" altLang="zh-CN" sz="2800" b="1" dirty="0">
                <a:latin typeface="+mn-ea"/>
              </a:rPr>
              <a:t>决定一类有机化合物的主要性质的原子或原子团。</a:t>
            </a:r>
          </a:p>
          <a:p>
            <a:pPr eaLnBrk="1" hangingPunct="1"/>
            <a:endParaRPr lang="zh-CN" altLang="zh-CN" sz="2800" b="1" dirty="0">
              <a:latin typeface="+mn-ea"/>
            </a:endParaRPr>
          </a:p>
          <a:p>
            <a:pPr eaLnBrk="1" hangingPunct="1"/>
            <a:r>
              <a:rPr lang="zh-CN" altLang="zh-CN" sz="2800" b="1" dirty="0">
                <a:latin typeface="+mn-ea"/>
              </a:rPr>
              <a:t>含有相同官能团的化合物在化学性质上相似，所以可以把官能团作为主要标准对有机化合物进行分类</a:t>
            </a:r>
            <a:r>
              <a:rPr lang="zh-CN" altLang="en-US" sz="2800" b="1" dirty="0">
                <a:latin typeface="+mn-ea"/>
              </a:rPr>
              <a:t>。</a:t>
            </a:r>
            <a:br>
              <a:rPr lang="zh-CN" altLang="en-US" sz="2800" b="1" dirty="0">
                <a:latin typeface="+mn-ea"/>
              </a:rPr>
            </a:br>
            <a:endParaRPr lang="zh-CN" altLang="en-US" sz="2800" b="1" dirty="0">
              <a:latin typeface="+mn-ea"/>
            </a:endParaRP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DFB7FE94-31A7-418E-91E2-ACD0DC84FF96}"/>
              </a:ext>
            </a:extLst>
          </p:cNvPr>
          <p:cNvGrpSpPr/>
          <p:nvPr/>
        </p:nvGrpSpPr>
        <p:grpSpPr>
          <a:xfrm>
            <a:off x="179514" y="620688"/>
            <a:ext cx="5268414" cy="587152"/>
            <a:chOff x="535865" y="609600"/>
            <a:chExt cx="5268414" cy="587152"/>
          </a:xfrm>
        </p:grpSpPr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EADADFE4-8A3C-4CA5-A60A-F9356A189D38}"/>
                </a:ext>
              </a:extLst>
            </p:cNvPr>
            <p:cNvSpPr/>
            <p:nvPr/>
          </p:nvSpPr>
          <p:spPr>
            <a:xfrm>
              <a:off x="1341143" y="609600"/>
              <a:ext cx="4463136" cy="587152"/>
            </a:xfrm>
            <a:prstGeom prst="rect">
              <a:avLst/>
            </a:prstGeom>
            <a:noFill/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5A6C331A-66E6-4D4D-93C0-2DD8C40CC6D9}"/>
                </a:ext>
              </a:extLst>
            </p:cNvPr>
            <p:cNvSpPr/>
            <p:nvPr/>
          </p:nvSpPr>
          <p:spPr>
            <a:xfrm>
              <a:off x="535865" y="609600"/>
              <a:ext cx="139571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635C369B-E672-4611-9CD9-144CE21CEAF9}"/>
                </a:ext>
              </a:extLst>
            </p:cNvPr>
            <p:cNvSpPr/>
            <p:nvPr/>
          </p:nvSpPr>
          <p:spPr>
            <a:xfrm>
              <a:off x="740061" y="609600"/>
              <a:ext cx="139571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F6E384EC-49E1-426A-9ECC-2CB2468966AC}"/>
                </a:ext>
              </a:extLst>
            </p:cNvPr>
            <p:cNvSpPr/>
            <p:nvPr/>
          </p:nvSpPr>
          <p:spPr>
            <a:xfrm>
              <a:off x="942606" y="609600"/>
              <a:ext cx="333913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1" name="Text Box 15">
            <a:extLst>
              <a:ext uri="{FF2B5EF4-FFF2-40B4-BE49-F238E27FC236}">
                <a16:creationId xmlns:a16="http://schemas.microsoft.com/office/drawing/2014/main" id="{C98D8BCA-3595-47C0-80A1-4F256A4812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14776" y="574653"/>
            <a:ext cx="4433152" cy="633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3200" b="1" dirty="0">
                <a:latin typeface="+mj-ea"/>
                <a:ea typeface="+mj-ea"/>
              </a:rPr>
              <a:t>根据官能团不同分类</a:t>
            </a:r>
            <a:endParaRPr lang="en-US" altLang="zh-CN" sz="3200" b="1" dirty="0"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0" name="Rectangle 4"/>
          <p:cNvSpPr>
            <a:spLocks noChangeArrowheads="1"/>
          </p:cNvSpPr>
          <p:nvPr/>
        </p:nvSpPr>
        <p:spPr bwMode="auto">
          <a:xfrm>
            <a:off x="2636540" y="3751089"/>
            <a:ext cx="533400" cy="533400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zh-CN" altLang="en-US" sz="2800">
                <a:solidFill>
                  <a:srgbClr val="000000"/>
                </a:solidFill>
              </a:rPr>
              <a:t>烃</a:t>
            </a:r>
          </a:p>
        </p:txBody>
      </p:sp>
      <p:sp>
        <p:nvSpPr>
          <p:cNvPr id="1041" name="Rectangle 5"/>
          <p:cNvSpPr>
            <a:spLocks noChangeArrowheads="1"/>
          </p:cNvSpPr>
          <p:nvPr/>
        </p:nvSpPr>
        <p:spPr bwMode="auto">
          <a:xfrm>
            <a:off x="3359696" y="3751089"/>
            <a:ext cx="1152128" cy="533400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zh-CN" altLang="en-US" sz="2800" dirty="0">
                <a:solidFill>
                  <a:srgbClr val="000000"/>
                </a:solidFill>
              </a:rPr>
              <a:t>卤代烃</a:t>
            </a:r>
          </a:p>
        </p:txBody>
      </p:sp>
      <p:sp>
        <p:nvSpPr>
          <p:cNvPr id="1042" name="Rectangle 6"/>
          <p:cNvSpPr>
            <a:spLocks noChangeArrowheads="1"/>
          </p:cNvSpPr>
          <p:nvPr/>
        </p:nvSpPr>
        <p:spPr bwMode="auto">
          <a:xfrm>
            <a:off x="4655840" y="3759696"/>
            <a:ext cx="533400" cy="533400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zh-CN" altLang="en-US" sz="2800" dirty="0">
                <a:solidFill>
                  <a:srgbClr val="000000"/>
                </a:solidFill>
              </a:rPr>
              <a:t>醇</a:t>
            </a:r>
          </a:p>
        </p:txBody>
      </p:sp>
      <p:sp>
        <p:nvSpPr>
          <p:cNvPr id="1043" name="Rectangle 7"/>
          <p:cNvSpPr>
            <a:spLocks noChangeArrowheads="1"/>
          </p:cNvSpPr>
          <p:nvPr/>
        </p:nvSpPr>
        <p:spPr bwMode="auto">
          <a:xfrm>
            <a:off x="5375920" y="3751089"/>
            <a:ext cx="533400" cy="533400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zh-CN" altLang="en-US" sz="2800">
                <a:solidFill>
                  <a:srgbClr val="000000"/>
                </a:solidFill>
              </a:rPr>
              <a:t>酚</a:t>
            </a:r>
          </a:p>
        </p:txBody>
      </p:sp>
      <p:sp>
        <p:nvSpPr>
          <p:cNvPr id="1044" name="Rectangle 8"/>
          <p:cNvSpPr>
            <a:spLocks noChangeArrowheads="1"/>
          </p:cNvSpPr>
          <p:nvPr/>
        </p:nvSpPr>
        <p:spPr bwMode="auto">
          <a:xfrm>
            <a:off x="6240016" y="3751089"/>
            <a:ext cx="533400" cy="533400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zh-CN" altLang="en-US" sz="2800">
                <a:solidFill>
                  <a:srgbClr val="000000"/>
                </a:solidFill>
              </a:rPr>
              <a:t>醚</a:t>
            </a:r>
          </a:p>
        </p:txBody>
      </p:sp>
      <p:sp>
        <p:nvSpPr>
          <p:cNvPr id="1045" name="Rectangle 9"/>
          <p:cNvSpPr>
            <a:spLocks noChangeArrowheads="1"/>
          </p:cNvSpPr>
          <p:nvPr/>
        </p:nvSpPr>
        <p:spPr bwMode="auto">
          <a:xfrm>
            <a:off x="7032104" y="3751089"/>
            <a:ext cx="533400" cy="533400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zh-CN" altLang="en-US" sz="2800">
                <a:solidFill>
                  <a:srgbClr val="000000"/>
                </a:solidFill>
              </a:rPr>
              <a:t>醛</a:t>
            </a:r>
          </a:p>
        </p:txBody>
      </p:sp>
      <p:sp>
        <p:nvSpPr>
          <p:cNvPr id="1046" name="Rectangle 10"/>
          <p:cNvSpPr>
            <a:spLocks noChangeArrowheads="1"/>
          </p:cNvSpPr>
          <p:nvPr/>
        </p:nvSpPr>
        <p:spPr bwMode="auto">
          <a:xfrm>
            <a:off x="7968208" y="3789040"/>
            <a:ext cx="533400" cy="533400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zh-CN" altLang="en-US" sz="2800" dirty="0">
                <a:solidFill>
                  <a:srgbClr val="000000"/>
                </a:solidFill>
              </a:rPr>
              <a:t>酮</a:t>
            </a:r>
          </a:p>
        </p:txBody>
      </p:sp>
      <p:sp>
        <p:nvSpPr>
          <p:cNvPr id="1047" name="Rectangle 11"/>
          <p:cNvSpPr>
            <a:spLocks noChangeArrowheads="1"/>
          </p:cNvSpPr>
          <p:nvPr/>
        </p:nvSpPr>
        <p:spPr bwMode="auto">
          <a:xfrm>
            <a:off x="8656340" y="3789040"/>
            <a:ext cx="914400" cy="533400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zh-CN" altLang="en-US" sz="2800">
                <a:solidFill>
                  <a:srgbClr val="000000"/>
                </a:solidFill>
              </a:rPr>
              <a:t>羧酸</a:t>
            </a:r>
          </a:p>
        </p:txBody>
      </p:sp>
      <p:sp>
        <p:nvSpPr>
          <p:cNvPr id="1048" name="Rectangle 12"/>
          <p:cNvSpPr>
            <a:spLocks noChangeArrowheads="1"/>
          </p:cNvSpPr>
          <p:nvPr/>
        </p:nvSpPr>
        <p:spPr bwMode="auto">
          <a:xfrm>
            <a:off x="4655840" y="2204864"/>
            <a:ext cx="2362200" cy="93662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zh-CN" altLang="en-US" sz="2800" dirty="0">
                <a:solidFill>
                  <a:srgbClr val="000000"/>
                </a:solidFill>
              </a:rPr>
              <a:t>有机化合物</a:t>
            </a:r>
          </a:p>
        </p:txBody>
      </p:sp>
      <p:sp>
        <p:nvSpPr>
          <p:cNvPr id="1049" name="Line 13"/>
          <p:cNvSpPr>
            <a:spLocks noChangeShapeType="1"/>
          </p:cNvSpPr>
          <p:nvPr/>
        </p:nvSpPr>
        <p:spPr bwMode="auto">
          <a:xfrm flipH="1">
            <a:off x="2865140" y="3141489"/>
            <a:ext cx="2895600" cy="609600"/>
          </a:xfrm>
          <a:prstGeom prst="line">
            <a:avLst/>
          </a:prstGeom>
          <a:ln>
            <a:headEnd/>
            <a:tailEnd type="triangl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endParaRPr lang="zh-CN" altLang="en-US" sz="2800"/>
          </a:p>
        </p:txBody>
      </p:sp>
      <p:sp>
        <p:nvSpPr>
          <p:cNvPr id="1050" name="Line 14"/>
          <p:cNvSpPr>
            <a:spLocks noChangeShapeType="1"/>
          </p:cNvSpPr>
          <p:nvPr/>
        </p:nvSpPr>
        <p:spPr bwMode="auto">
          <a:xfrm flipH="1">
            <a:off x="4160540" y="3141489"/>
            <a:ext cx="1600200" cy="609600"/>
          </a:xfrm>
          <a:prstGeom prst="line">
            <a:avLst/>
          </a:prstGeom>
          <a:ln>
            <a:headEnd/>
            <a:tailEnd type="triangl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endParaRPr lang="zh-CN" altLang="en-US" sz="2800"/>
          </a:p>
        </p:txBody>
      </p:sp>
      <p:sp>
        <p:nvSpPr>
          <p:cNvPr id="1051" name="Line 15"/>
          <p:cNvSpPr>
            <a:spLocks noChangeShapeType="1"/>
          </p:cNvSpPr>
          <p:nvPr/>
        </p:nvSpPr>
        <p:spPr bwMode="auto">
          <a:xfrm flipH="1">
            <a:off x="5159896" y="3141489"/>
            <a:ext cx="576064" cy="575543"/>
          </a:xfrm>
          <a:prstGeom prst="line">
            <a:avLst/>
          </a:prstGeom>
          <a:ln>
            <a:headEnd/>
            <a:tailEnd type="triangl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endParaRPr lang="zh-CN" altLang="en-US" sz="2800"/>
          </a:p>
        </p:txBody>
      </p:sp>
      <p:sp>
        <p:nvSpPr>
          <p:cNvPr id="1052" name="Line 16"/>
          <p:cNvSpPr>
            <a:spLocks noChangeShapeType="1"/>
          </p:cNvSpPr>
          <p:nvPr/>
        </p:nvSpPr>
        <p:spPr bwMode="auto">
          <a:xfrm>
            <a:off x="5799584" y="3141489"/>
            <a:ext cx="80392" cy="575543"/>
          </a:xfrm>
          <a:prstGeom prst="line">
            <a:avLst/>
          </a:prstGeom>
          <a:ln>
            <a:headEnd/>
            <a:tailEnd type="triangl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endParaRPr lang="zh-CN" altLang="en-US" sz="2800"/>
          </a:p>
        </p:txBody>
      </p:sp>
      <p:sp>
        <p:nvSpPr>
          <p:cNvPr id="1053" name="Line 17"/>
          <p:cNvSpPr>
            <a:spLocks noChangeShapeType="1"/>
          </p:cNvSpPr>
          <p:nvPr/>
        </p:nvSpPr>
        <p:spPr bwMode="auto">
          <a:xfrm>
            <a:off x="5760740" y="3141489"/>
            <a:ext cx="914400" cy="609600"/>
          </a:xfrm>
          <a:prstGeom prst="line">
            <a:avLst/>
          </a:prstGeom>
          <a:ln>
            <a:headEnd/>
            <a:tailEnd type="triangl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endParaRPr lang="zh-CN" altLang="en-US" sz="2800"/>
          </a:p>
        </p:txBody>
      </p:sp>
      <p:sp>
        <p:nvSpPr>
          <p:cNvPr id="1054" name="Line 18"/>
          <p:cNvSpPr>
            <a:spLocks noChangeShapeType="1"/>
          </p:cNvSpPr>
          <p:nvPr/>
        </p:nvSpPr>
        <p:spPr bwMode="auto">
          <a:xfrm>
            <a:off x="5760740" y="3141489"/>
            <a:ext cx="1676400" cy="609600"/>
          </a:xfrm>
          <a:prstGeom prst="line">
            <a:avLst/>
          </a:prstGeom>
          <a:ln>
            <a:headEnd/>
            <a:tailEnd type="triangl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endParaRPr lang="zh-CN" altLang="en-US" sz="2800"/>
          </a:p>
        </p:txBody>
      </p:sp>
      <p:sp>
        <p:nvSpPr>
          <p:cNvPr id="1055" name="Line 19"/>
          <p:cNvSpPr>
            <a:spLocks noChangeShapeType="1"/>
          </p:cNvSpPr>
          <p:nvPr/>
        </p:nvSpPr>
        <p:spPr bwMode="auto">
          <a:xfrm>
            <a:off x="5760740" y="3141489"/>
            <a:ext cx="2362200" cy="609600"/>
          </a:xfrm>
          <a:prstGeom prst="line">
            <a:avLst/>
          </a:prstGeom>
          <a:ln>
            <a:headEnd/>
            <a:tailEnd type="triangl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endParaRPr lang="zh-CN" altLang="en-US" sz="2800"/>
          </a:p>
        </p:txBody>
      </p:sp>
      <p:sp>
        <p:nvSpPr>
          <p:cNvPr id="1056" name="Line 20"/>
          <p:cNvSpPr>
            <a:spLocks noChangeShapeType="1"/>
          </p:cNvSpPr>
          <p:nvPr/>
        </p:nvSpPr>
        <p:spPr bwMode="auto">
          <a:xfrm>
            <a:off x="5760740" y="3141489"/>
            <a:ext cx="3429000" cy="609600"/>
          </a:xfrm>
          <a:prstGeom prst="line">
            <a:avLst/>
          </a:prstGeom>
          <a:ln>
            <a:headEnd/>
            <a:tailEnd type="triangl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endParaRPr lang="zh-CN" altLang="en-US" sz="2800"/>
          </a:p>
        </p:txBody>
      </p:sp>
      <p:graphicFrame>
        <p:nvGraphicFramePr>
          <p:cNvPr id="1035" name="Object 11"/>
          <p:cNvGraphicFramePr>
            <a:graphicFrameLocks noChangeAspect="1"/>
          </p:cNvGraphicFramePr>
          <p:nvPr/>
        </p:nvGraphicFramePr>
        <p:xfrm>
          <a:off x="5253608" y="4313064"/>
          <a:ext cx="914400" cy="838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ChemSketch" r:id="rId3" imgW="1733550" imgH="1533525" progId="">
                  <p:embed/>
                </p:oleObj>
              </mc:Choice>
              <mc:Fallback>
                <p:oleObj name="ChemSketch" r:id="rId3" imgW="1733550" imgH="1533525" progId="">
                  <p:embed/>
                  <p:pic>
                    <p:nvPicPr>
                      <p:cNvPr id="1035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53608" y="4313064"/>
                        <a:ext cx="914400" cy="8382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7" name="文本框 2"/>
          <p:cNvSpPr txBox="1">
            <a:spLocks noChangeArrowheads="1"/>
          </p:cNvSpPr>
          <p:nvPr/>
        </p:nvSpPr>
        <p:spPr bwMode="auto">
          <a:xfrm>
            <a:off x="7824192" y="4437112"/>
            <a:ext cx="1008112" cy="40011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altLang="zh-CN" sz="2000" b="1" dirty="0">
                <a:latin typeface="Times New Roman" pitchFamily="18" charset="0"/>
                <a:ea typeface="微软雅黑" pitchFamily="34" charset="-122"/>
                <a:cs typeface="Times New Roman" pitchFamily="18" charset="0"/>
              </a:rPr>
              <a:t>RCOR'</a:t>
            </a:r>
          </a:p>
        </p:txBody>
      </p:sp>
      <p:grpSp>
        <p:nvGrpSpPr>
          <p:cNvPr id="34" name="组合 33">
            <a:extLst>
              <a:ext uri="{FF2B5EF4-FFF2-40B4-BE49-F238E27FC236}">
                <a16:creationId xmlns:a16="http://schemas.microsoft.com/office/drawing/2014/main" id="{A5AC675B-96DB-40FB-897F-7398ACD80EFC}"/>
              </a:ext>
            </a:extLst>
          </p:cNvPr>
          <p:cNvGrpSpPr/>
          <p:nvPr/>
        </p:nvGrpSpPr>
        <p:grpSpPr>
          <a:xfrm>
            <a:off x="179514" y="620688"/>
            <a:ext cx="5268414" cy="587152"/>
            <a:chOff x="535865" y="609600"/>
            <a:chExt cx="5268414" cy="587152"/>
          </a:xfrm>
        </p:grpSpPr>
        <p:sp>
          <p:nvSpPr>
            <p:cNvPr id="35" name="矩形 34">
              <a:extLst>
                <a:ext uri="{FF2B5EF4-FFF2-40B4-BE49-F238E27FC236}">
                  <a16:creationId xmlns:a16="http://schemas.microsoft.com/office/drawing/2014/main" id="{3B50443A-EA0D-4865-9B04-93A35CEA8BFA}"/>
                </a:ext>
              </a:extLst>
            </p:cNvPr>
            <p:cNvSpPr/>
            <p:nvPr/>
          </p:nvSpPr>
          <p:spPr>
            <a:xfrm>
              <a:off x="1341143" y="609600"/>
              <a:ext cx="4463136" cy="587152"/>
            </a:xfrm>
            <a:prstGeom prst="rect">
              <a:avLst/>
            </a:prstGeom>
            <a:noFill/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36" name="矩形 35">
              <a:extLst>
                <a:ext uri="{FF2B5EF4-FFF2-40B4-BE49-F238E27FC236}">
                  <a16:creationId xmlns:a16="http://schemas.microsoft.com/office/drawing/2014/main" id="{31CB42BD-53B3-4A65-9444-C0138453F0F4}"/>
                </a:ext>
              </a:extLst>
            </p:cNvPr>
            <p:cNvSpPr/>
            <p:nvPr/>
          </p:nvSpPr>
          <p:spPr>
            <a:xfrm>
              <a:off x="535865" y="609600"/>
              <a:ext cx="139571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7" name="矩形 36">
              <a:extLst>
                <a:ext uri="{FF2B5EF4-FFF2-40B4-BE49-F238E27FC236}">
                  <a16:creationId xmlns:a16="http://schemas.microsoft.com/office/drawing/2014/main" id="{A1852F0B-0EF6-4256-AACA-68B4EFF3D72C}"/>
                </a:ext>
              </a:extLst>
            </p:cNvPr>
            <p:cNvSpPr/>
            <p:nvPr/>
          </p:nvSpPr>
          <p:spPr>
            <a:xfrm>
              <a:off x="740061" y="609600"/>
              <a:ext cx="139571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" name="矩形 37">
              <a:extLst>
                <a:ext uri="{FF2B5EF4-FFF2-40B4-BE49-F238E27FC236}">
                  <a16:creationId xmlns:a16="http://schemas.microsoft.com/office/drawing/2014/main" id="{2D7083CC-A7DF-4540-BF74-40D888411481}"/>
                </a:ext>
              </a:extLst>
            </p:cNvPr>
            <p:cNvSpPr/>
            <p:nvPr/>
          </p:nvSpPr>
          <p:spPr>
            <a:xfrm>
              <a:off x="942606" y="609600"/>
              <a:ext cx="333913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9" name="Text Box 15">
            <a:extLst>
              <a:ext uri="{FF2B5EF4-FFF2-40B4-BE49-F238E27FC236}">
                <a16:creationId xmlns:a16="http://schemas.microsoft.com/office/drawing/2014/main" id="{45CD07E6-4372-4F38-9E32-87896490A50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14776" y="574653"/>
            <a:ext cx="4433152" cy="633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3200" b="1" dirty="0">
                <a:latin typeface="+mj-ea"/>
                <a:ea typeface="+mj-ea"/>
              </a:rPr>
              <a:t>按官能团分类</a:t>
            </a:r>
            <a:endParaRPr lang="en-US" altLang="zh-CN" sz="3200" b="1" dirty="0">
              <a:latin typeface="+mj-ea"/>
              <a:ea typeface="+mj-ea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639616" y="4397042"/>
            <a:ext cx="64807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>
                <a:latin typeface="Times New Roman" pitchFamily="18" charset="0"/>
                <a:ea typeface="楷体_GB2312" pitchFamily="49" charset="-122"/>
                <a:cs typeface="Times New Roman" pitchFamily="18" charset="0"/>
              </a:rPr>
              <a:t>R-H</a:t>
            </a:r>
            <a:endParaRPr lang="zh-CN" altLang="en-US" sz="2000" b="1" dirty="0">
              <a:latin typeface="Times New Roman" pitchFamily="18" charset="0"/>
              <a:ea typeface="楷体_GB2312" pitchFamily="49" charset="-122"/>
              <a:cs typeface="Times New Roman" pitchFamily="18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3503712" y="4397042"/>
            <a:ext cx="7920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>
                <a:latin typeface="Times New Roman" pitchFamily="18" charset="0"/>
                <a:ea typeface="楷体_GB2312" pitchFamily="49" charset="-122"/>
                <a:cs typeface="Times New Roman" pitchFamily="18" charset="0"/>
              </a:rPr>
              <a:t>R-</a:t>
            </a:r>
            <a:r>
              <a:rPr lang="en-US" altLang="zh-CN" sz="2000" b="1" dirty="0" err="1">
                <a:latin typeface="Times New Roman" pitchFamily="18" charset="0"/>
                <a:ea typeface="楷体_GB2312" pitchFamily="49" charset="-122"/>
                <a:cs typeface="Times New Roman" pitchFamily="18" charset="0"/>
              </a:rPr>
              <a:t>Cl</a:t>
            </a:r>
            <a:endParaRPr lang="zh-CN" altLang="en-US" sz="2000" b="1" dirty="0">
              <a:latin typeface="Times New Roman" pitchFamily="18" charset="0"/>
              <a:ea typeface="楷体_GB2312" pitchFamily="49" charset="-122"/>
              <a:cs typeface="Times New Roman" pitchFamily="18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4511824" y="4437112"/>
            <a:ext cx="8640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>
                <a:latin typeface="Times New Roman" pitchFamily="18" charset="0"/>
                <a:ea typeface="楷体_GB2312" pitchFamily="49" charset="-122"/>
                <a:cs typeface="Times New Roman" pitchFamily="18" charset="0"/>
              </a:rPr>
              <a:t>R-OH</a:t>
            </a:r>
            <a:endParaRPr lang="zh-CN" altLang="en-US" sz="2000" b="1" dirty="0">
              <a:latin typeface="Times New Roman" pitchFamily="18" charset="0"/>
              <a:ea typeface="楷体_GB2312" pitchFamily="49" charset="-122"/>
              <a:cs typeface="Times New Roman" pitchFamily="18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6168008" y="4437112"/>
            <a:ext cx="7920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>
                <a:latin typeface="Times New Roman" pitchFamily="18" charset="0"/>
                <a:ea typeface="楷体_GB2312" pitchFamily="49" charset="-122"/>
                <a:cs typeface="Times New Roman" pitchFamily="18" charset="0"/>
              </a:rPr>
              <a:t>ROR</a:t>
            </a:r>
            <a:endParaRPr lang="zh-CN" altLang="en-US" sz="2000" b="1" dirty="0">
              <a:latin typeface="Times New Roman" pitchFamily="18" charset="0"/>
              <a:ea typeface="楷体_GB2312" pitchFamily="49" charset="-122"/>
              <a:cs typeface="Times New Roman" pitchFamily="18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6888088" y="4437112"/>
            <a:ext cx="10081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>
                <a:latin typeface="Times New Roman" pitchFamily="18" charset="0"/>
                <a:ea typeface="楷体_GB2312" pitchFamily="49" charset="-122"/>
                <a:cs typeface="Times New Roman" pitchFamily="18" charset="0"/>
              </a:rPr>
              <a:t>RCHO</a:t>
            </a:r>
            <a:endParaRPr lang="zh-CN" altLang="en-US" sz="2000" b="1" dirty="0">
              <a:latin typeface="Times New Roman" pitchFamily="18" charset="0"/>
              <a:ea typeface="楷体_GB2312" pitchFamily="49" charset="-122"/>
              <a:cs typeface="Times New Roman" pitchFamily="18" charset="0"/>
            </a:endParaRPr>
          </a:p>
        </p:txBody>
      </p:sp>
      <p:sp>
        <p:nvSpPr>
          <p:cNvPr id="46" name="文本框 2"/>
          <p:cNvSpPr txBox="1">
            <a:spLocks noChangeArrowheads="1"/>
          </p:cNvSpPr>
          <p:nvPr/>
        </p:nvSpPr>
        <p:spPr bwMode="auto">
          <a:xfrm>
            <a:off x="8688288" y="4437112"/>
            <a:ext cx="1224136" cy="40011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altLang="zh-CN" sz="2000" b="1" dirty="0">
                <a:latin typeface="Times New Roman" pitchFamily="18" charset="0"/>
                <a:ea typeface="微软雅黑" pitchFamily="34" charset="-122"/>
                <a:cs typeface="Times New Roman" pitchFamily="18" charset="0"/>
              </a:rPr>
              <a:t>RCOOH</a:t>
            </a: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9" name="Rectangle 3"/>
          <p:cNvSpPr>
            <a:spLocks noGrp="1" noChangeArrowheads="1"/>
          </p:cNvSpPr>
          <p:nvPr>
            <p:ph idx="1"/>
          </p:nvPr>
        </p:nvSpPr>
        <p:spPr>
          <a:xfrm>
            <a:off x="2063552" y="1052736"/>
            <a:ext cx="8382000" cy="5029200"/>
          </a:xfr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algn="ctr" eaLnBrk="1" hangingPunct="1">
              <a:buFont typeface="Arial" charset="0"/>
              <a:buNone/>
            </a:pPr>
            <a:r>
              <a:rPr lang="zh-CN" altLang="zh-CN" sz="2800" b="1" dirty="0">
                <a:latin typeface="+mn-ea"/>
              </a:rPr>
              <a:t>有机化合物及其官能团</a:t>
            </a:r>
          </a:p>
          <a:p>
            <a:pPr eaLnBrk="1" hangingPunct="1">
              <a:buFont typeface="Arial" charset="0"/>
              <a:buNone/>
            </a:pPr>
            <a:r>
              <a:rPr lang="en-US" altLang="zh-CN" sz="2800" b="1" dirty="0">
                <a:latin typeface="+mn-ea"/>
              </a:rPr>
              <a:t> </a:t>
            </a:r>
            <a:r>
              <a:rPr lang="zh-CN" altLang="zh-CN" sz="2800" b="1" dirty="0">
                <a:latin typeface="+mn-ea"/>
              </a:rPr>
              <a:t>官能团名称</a:t>
            </a:r>
            <a:r>
              <a:rPr lang="en-US" altLang="zh-CN" sz="2800" b="1" dirty="0">
                <a:latin typeface="+mn-ea"/>
              </a:rPr>
              <a:t>     </a:t>
            </a:r>
            <a:r>
              <a:rPr lang="zh-CN" altLang="zh-CN" sz="2800" b="1" dirty="0">
                <a:latin typeface="+mn-ea"/>
              </a:rPr>
              <a:t>官能团结构</a:t>
            </a:r>
            <a:r>
              <a:rPr lang="en-US" altLang="zh-CN" sz="2800" b="1" dirty="0">
                <a:latin typeface="+mn-ea"/>
              </a:rPr>
              <a:t>      </a:t>
            </a:r>
            <a:r>
              <a:rPr lang="zh-CN" altLang="zh-CN" sz="2800" b="1" dirty="0">
                <a:latin typeface="+mn-ea"/>
              </a:rPr>
              <a:t>化合物类型</a:t>
            </a:r>
          </a:p>
          <a:p>
            <a:pPr eaLnBrk="1" hangingPunct="1"/>
            <a:r>
              <a:rPr lang="zh-CN" altLang="zh-CN" sz="2800" b="1" dirty="0">
                <a:latin typeface="+mn-ea"/>
              </a:rPr>
              <a:t>碳碳双键</a:t>
            </a:r>
            <a:r>
              <a:rPr lang="en-US" altLang="zh-CN" sz="2800" b="1" dirty="0">
                <a:latin typeface="+mn-ea"/>
              </a:rPr>
              <a:t>          C</a:t>
            </a:r>
            <a:r>
              <a:rPr lang="zh-CN" altLang="en-US" sz="2800" b="1" dirty="0">
                <a:latin typeface="+mn-ea"/>
              </a:rPr>
              <a:t>＝</a:t>
            </a:r>
            <a:r>
              <a:rPr lang="en-US" altLang="zh-CN" sz="2800" b="1" dirty="0">
                <a:latin typeface="+mn-ea"/>
              </a:rPr>
              <a:t>C            </a:t>
            </a:r>
            <a:r>
              <a:rPr lang="zh-CN" altLang="zh-CN" sz="2800" b="1" dirty="0">
                <a:latin typeface="+mn-ea"/>
              </a:rPr>
              <a:t>烯烃</a:t>
            </a:r>
          </a:p>
          <a:p>
            <a:pPr eaLnBrk="1" hangingPunct="1"/>
            <a:r>
              <a:rPr lang="zh-CN" altLang="zh-CN" sz="2800" b="1" dirty="0">
                <a:latin typeface="+mn-ea"/>
              </a:rPr>
              <a:t>碳碳</a:t>
            </a:r>
            <a:r>
              <a:rPr lang="zh-CN" altLang="en-US" sz="2800" b="1" dirty="0">
                <a:latin typeface="+mn-ea"/>
              </a:rPr>
              <a:t>三</a:t>
            </a:r>
            <a:r>
              <a:rPr lang="zh-CN" altLang="zh-CN" sz="2800" b="1" dirty="0">
                <a:latin typeface="+mn-ea"/>
              </a:rPr>
              <a:t>键</a:t>
            </a:r>
            <a:r>
              <a:rPr lang="en-US" altLang="zh-CN" sz="2800" b="1" dirty="0">
                <a:latin typeface="+mn-ea"/>
              </a:rPr>
              <a:t>        </a:t>
            </a:r>
            <a:r>
              <a:rPr lang="zh-CN" altLang="en-US" sz="2800" b="1" dirty="0">
                <a:latin typeface="+mn-ea"/>
              </a:rPr>
              <a:t>－</a:t>
            </a:r>
            <a:r>
              <a:rPr lang="en-US" altLang="zh-CN" sz="2800" b="1" dirty="0">
                <a:latin typeface="+mn-ea"/>
              </a:rPr>
              <a:t>C≡C</a:t>
            </a:r>
            <a:r>
              <a:rPr lang="zh-CN" altLang="en-US" sz="2800" b="1" dirty="0">
                <a:latin typeface="+mn-ea"/>
              </a:rPr>
              <a:t>－</a:t>
            </a:r>
            <a:r>
              <a:rPr lang="en-US" altLang="zh-CN" sz="2800" b="1" dirty="0">
                <a:latin typeface="+mn-ea"/>
              </a:rPr>
              <a:t>          </a:t>
            </a:r>
            <a:r>
              <a:rPr lang="zh-CN" altLang="zh-CN" sz="2800" b="1" dirty="0">
                <a:latin typeface="+mn-ea"/>
              </a:rPr>
              <a:t>炔烃</a:t>
            </a:r>
          </a:p>
          <a:p>
            <a:pPr eaLnBrk="1" hangingPunct="1"/>
            <a:r>
              <a:rPr lang="zh-CN" altLang="zh-CN" sz="2800" b="1" dirty="0">
                <a:latin typeface="+mn-ea"/>
              </a:rPr>
              <a:t>羟基</a:t>
            </a:r>
            <a:r>
              <a:rPr lang="en-US" altLang="zh-CN" sz="2800" b="1" dirty="0">
                <a:latin typeface="+mn-ea"/>
              </a:rPr>
              <a:t>              </a:t>
            </a:r>
            <a:r>
              <a:rPr lang="zh-CN" altLang="en-US" sz="2800" b="1" dirty="0">
                <a:latin typeface="+mn-ea"/>
              </a:rPr>
              <a:t>－</a:t>
            </a:r>
            <a:r>
              <a:rPr lang="en-US" altLang="zh-CN" sz="2800" b="1" dirty="0">
                <a:latin typeface="+mn-ea"/>
              </a:rPr>
              <a:t>OH           </a:t>
            </a:r>
            <a:r>
              <a:rPr lang="zh-CN" altLang="zh-CN" sz="2800" b="1" dirty="0">
                <a:latin typeface="+mn-ea"/>
              </a:rPr>
              <a:t>醇、酚</a:t>
            </a:r>
          </a:p>
          <a:p>
            <a:pPr eaLnBrk="1" hangingPunct="1"/>
            <a:r>
              <a:rPr lang="zh-CN" altLang="en-US" sz="2800" b="1" dirty="0">
                <a:latin typeface="+mn-ea"/>
              </a:rPr>
              <a:t>羰</a:t>
            </a:r>
            <a:r>
              <a:rPr lang="zh-CN" altLang="zh-CN" sz="2800" b="1" dirty="0">
                <a:latin typeface="+mn-ea"/>
              </a:rPr>
              <a:t>基</a:t>
            </a:r>
            <a:r>
              <a:rPr lang="en-US" altLang="zh-CN" sz="2800" b="1" dirty="0">
                <a:latin typeface="+mn-ea"/>
              </a:rPr>
              <a:t>              C</a:t>
            </a:r>
            <a:r>
              <a:rPr lang="zh-CN" altLang="en-US" sz="2800" b="1" dirty="0">
                <a:latin typeface="+mn-ea"/>
              </a:rPr>
              <a:t>＝</a:t>
            </a:r>
            <a:r>
              <a:rPr lang="en-US" altLang="zh-CN" sz="2800" b="1" dirty="0">
                <a:latin typeface="+mn-ea"/>
              </a:rPr>
              <a:t>O            </a:t>
            </a:r>
            <a:r>
              <a:rPr lang="zh-CN" altLang="zh-CN" sz="2800" b="1" dirty="0">
                <a:latin typeface="+mn-ea"/>
              </a:rPr>
              <a:t>醛</a:t>
            </a:r>
            <a:r>
              <a:rPr lang="zh-CN" altLang="en-US" sz="2800" b="1" dirty="0">
                <a:latin typeface="+mn-ea"/>
              </a:rPr>
              <a:t>、酮</a:t>
            </a:r>
            <a:endParaRPr lang="zh-CN" altLang="zh-CN" sz="2800" b="1" dirty="0">
              <a:latin typeface="+mn-ea"/>
            </a:endParaRPr>
          </a:p>
          <a:p>
            <a:pPr eaLnBrk="1" hangingPunct="1"/>
            <a:r>
              <a:rPr lang="zh-CN" altLang="zh-CN" sz="2800" b="1" dirty="0">
                <a:latin typeface="+mn-ea"/>
              </a:rPr>
              <a:t>羧基</a:t>
            </a:r>
            <a:r>
              <a:rPr lang="en-US" altLang="zh-CN" sz="2800" b="1" dirty="0">
                <a:latin typeface="+mn-ea"/>
              </a:rPr>
              <a:t>              -COOH           </a:t>
            </a:r>
            <a:r>
              <a:rPr lang="zh-CN" altLang="zh-CN" sz="2800" b="1" dirty="0">
                <a:latin typeface="+mn-ea"/>
              </a:rPr>
              <a:t>羧酸</a:t>
            </a:r>
          </a:p>
          <a:p>
            <a:pPr eaLnBrk="1" hangingPunct="1"/>
            <a:r>
              <a:rPr lang="zh-CN" altLang="zh-CN" sz="2800" b="1" dirty="0">
                <a:latin typeface="+mn-ea"/>
              </a:rPr>
              <a:t>氨基</a:t>
            </a:r>
            <a:r>
              <a:rPr lang="en-US" altLang="zh-CN" sz="2800" b="1" dirty="0">
                <a:latin typeface="+mn-ea"/>
              </a:rPr>
              <a:t>              </a:t>
            </a:r>
            <a:r>
              <a:rPr lang="zh-CN" altLang="en-US" sz="2800" b="1" dirty="0">
                <a:latin typeface="+mn-ea"/>
              </a:rPr>
              <a:t>－</a:t>
            </a:r>
            <a:r>
              <a:rPr lang="en-US" altLang="zh-CN" sz="2800" b="1" dirty="0">
                <a:latin typeface="+mn-ea"/>
              </a:rPr>
              <a:t>NH</a:t>
            </a:r>
            <a:r>
              <a:rPr lang="en-US" altLang="zh-CN" sz="2800" b="1" baseline="-25000" dirty="0">
                <a:latin typeface="+mn-ea"/>
              </a:rPr>
              <a:t>2            </a:t>
            </a:r>
            <a:r>
              <a:rPr lang="en-US" altLang="zh-CN" sz="2800" b="1" dirty="0">
                <a:latin typeface="+mn-ea"/>
              </a:rPr>
              <a:t>    </a:t>
            </a:r>
            <a:r>
              <a:rPr lang="zh-CN" altLang="zh-CN" sz="2800" b="1" dirty="0">
                <a:latin typeface="+mn-ea"/>
              </a:rPr>
              <a:t>胺</a:t>
            </a:r>
          </a:p>
          <a:p>
            <a:pPr eaLnBrk="1" hangingPunct="1"/>
            <a:r>
              <a:rPr lang="zh-CN" altLang="zh-CN" sz="2800" b="1" dirty="0">
                <a:latin typeface="+mn-ea"/>
              </a:rPr>
              <a:t>醚键</a:t>
            </a:r>
            <a:r>
              <a:rPr lang="en-US" altLang="zh-CN" sz="2800" b="1" dirty="0">
                <a:latin typeface="+mn-ea"/>
              </a:rPr>
              <a:t>              R</a:t>
            </a:r>
            <a:r>
              <a:rPr lang="en-US" altLang="zh-CN" sz="2800" b="1" dirty="0">
                <a:solidFill>
                  <a:srgbClr val="FF0000"/>
                </a:solidFill>
                <a:latin typeface="+mn-ea"/>
              </a:rPr>
              <a:t>-O-</a:t>
            </a:r>
            <a:r>
              <a:rPr lang="en-US" altLang="zh-CN" sz="2800" b="1" dirty="0">
                <a:latin typeface="+mn-ea"/>
              </a:rPr>
              <a:t>R'           </a:t>
            </a:r>
            <a:r>
              <a:rPr lang="zh-CN" altLang="zh-CN" sz="2800" b="1" dirty="0">
                <a:latin typeface="+mn-ea"/>
              </a:rPr>
              <a:t>醚</a:t>
            </a:r>
          </a:p>
          <a:p>
            <a:pPr eaLnBrk="1" hangingPunct="1"/>
            <a:endParaRPr lang="en-US" altLang="zh-CN" sz="2800" b="1" dirty="0">
              <a:latin typeface="+mn-ea"/>
            </a:endParaRPr>
          </a:p>
        </p:txBody>
      </p:sp>
      <p:cxnSp>
        <p:nvCxnSpPr>
          <p:cNvPr id="8" name="直接连接符 7"/>
          <p:cNvCxnSpPr/>
          <p:nvPr/>
        </p:nvCxnSpPr>
        <p:spPr>
          <a:xfrm>
            <a:off x="5309990" y="2160811"/>
            <a:ext cx="215900" cy="144463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/>
        </p:nvCxnSpPr>
        <p:spPr>
          <a:xfrm flipV="1">
            <a:off x="6318052" y="2160811"/>
            <a:ext cx="144463" cy="144463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4" name="直接连接符 13"/>
          <p:cNvCxnSpPr/>
          <p:nvPr/>
        </p:nvCxnSpPr>
        <p:spPr>
          <a:xfrm>
            <a:off x="6318052" y="2376711"/>
            <a:ext cx="144463" cy="144463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8" name="直接连接符 17"/>
          <p:cNvCxnSpPr/>
          <p:nvPr/>
        </p:nvCxnSpPr>
        <p:spPr>
          <a:xfrm flipH="1">
            <a:off x="5309990" y="2376711"/>
            <a:ext cx="215900" cy="144463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6" name="直接连接符 25"/>
          <p:cNvCxnSpPr/>
          <p:nvPr/>
        </p:nvCxnSpPr>
        <p:spPr>
          <a:xfrm>
            <a:off x="2357240" y="2089374"/>
            <a:ext cx="756126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连接符 27"/>
          <p:cNvCxnSpPr/>
          <p:nvPr/>
        </p:nvCxnSpPr>
        <p:spPr>
          <a:xfrm>
            <a:off x="2214365" y="1513111"/>
            <a:ext cx="770413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直接连接符 7"/>
          <p:cNvCxnSpPr/>
          <p:nvPr/>
        </p:nvCxnSpPr>
        <p:spPr>
          <a:xfrm>
            <a:off x="5381427" y="3745136"/>
            <a:ext cx="215900" cy="144463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" name="直接连接符 17"/>
          <p:cNvCxnSpPr/>
          <p:nvPr/>
        </p:nvCxnSpPr>
        <p:spPr>
          <a:xfrm flipH="1">
            <a:off x="5381427" y="4034061"/>
            <a:ext cx="215900" cy="144463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991545" y="1916832"/>
            <a:ext cx="9505056" cy="452431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400" b="1" dirty="0">
                <a:latin typeface="+mn-ea"/>
                <a:ea typeface="+mn-ea"/>
              </a:rPr>
              <a:t>1</a:t>
            </a:r>
            <a:r>
              <a:rPr lang="zh-CN" altLang="en-US" sz="2400" dirty="0">
                <a:latin typeface="+mn-ea"/>
                <a:ea typeface="+mn-ea"/>
              </a:rPr>
              <a:t>．下列关于官能团的判断中说法错误的是（    ）  </a:t>
            </a:r>
            <a:endParaRPr lang="en-US" altLang="zh-CN" sz="2400" dirty="0">
              <a:latin typeface="+mn-ea"/>
              <a:ea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sz="2400" dirty="0">
                <a:latin typeface="+mn-ea"/>
                <a:ea typeface="+mn-ea"/>
              </a:rPr>
              <a:t>  A</a:t>
            </a:r>
            <a:r>
              <a:rPr lang="zh-CN" altLang="en-US" sz="2400" dirty="0">
                <a:latin typeface="+mn-ea"/>
                <a:ea typeface="+mn-ea"/>
              </a:rPr>
              <a:t>．醇的官能团是羟基（－</a:t>
            </a:r>
            <a:r>
              <a:rPr lang="en-US" altLang="zh-CN" sz="2400" dirty="0">
                <a:latin typeface="+mn-ea"/>
                <a:ea typeface="+mn-ea"/>
              </a:rPr>
              <a:t>OH</a:t>
            </a:r>
            <a:r>
              <a:rPr lang="zh-CN" altLang="en-US" sz="2400" dirty="0">
                <a:latin typeface="+mn-ea"/>
                <a:ea typeface="+mn-ea"/>
              </a:rPr>
              <a:t>） </a:t>
            </a:r>
            <a:r>
              <a:rPr lang="en-US" altLang="zh-CN" sz="2400" dirty="0">
                <a:latin typeface="+mn-ea"/>
                <a:ea typeface="+mn-ea"/>
              </a:rPr>
              <a:t>B</a:t>
            </a:r>
            <a:r>
              <a:rPr lang="zh-CN" altLang="en-US" sz="2400" dirty="0">
                <a:latin typeface="+mn-ea"/>
                <a:ea typeface="+mn-ea"/>
              </a:rPr>
              <a:t>．羧酸的官能团是羟基（</a:t>
            </a:r>
            <a:r>
              <a:rPr lang="en-US" altLang="zh-CN" sz="2400" dirty="0">
                <a:latin typeface="+mn-ea"/>
                <a:ea typeface="+mn-ea"/>
              </a:rPr>
              <a:t>OH</a:t>
            </a:r>
            <a:r>
              <a:rPr lang="zh-CN" altLang="en-US" sz="2400" dirty="0">
                <a:latin typeface="+mn-ea"/>
                <a:ea typeface="+mn-ea"/>
              </a:rPr>
              <a:t>）   </a:t>
            </a:r>
            <a:endParaRPr lang="en-US" altLang="zh-CN" sz="2400" dirty="0">
              <a:latin typeface="+mn-ea"/>
              <a:ea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sz="2400" dirty="0">
                <a:latin typeface="+mn-ea"/>
                <a:ea typeface="+mn-ea"/>
              </a:rPr>
              <a:t>  C</a:t>
            </a:r>
            <a:r>
              <a:rPr lang="zh-CN" altLang="en-US" sz="2400" dirty="0">
                <a:latin typeface="+mn-ea"/>
                <a:ea typeface="+mn-ea"/>
              </a:rPr>
              <a:t>．酚的官能团是羟基（－</a:t>
            </a:r>
            <a:r>
              <a:rPr lang="en-US" altLang="zh-CN" sz="2400" dirty="0">
                <a:latin typeface="+mn-ea"/>
                <a:ea typeface="+mn-ea"/>
              </a:rPr>
              <a:t>OH</a:t>
            </a:r>
            <a:r>
              <a:rPr lang="zh-CN" altLang="en-US" sz="2400" dirty="0">
                <a:latin typeface="+mn-ea"/>
                <a:ea typeface="+mn-ea"/>
              </a:rPr>
              <a:t>） </a:t>
            </a:r>
            <a:r>
              <a:rPr lang="en-US" altLang="zh-CN" sz="2400" dirty="0">
                <a:latin typeface="+mn-ea"/>
                <a:ea typeface="+mn-ea"/>
              </a:rPr>
              <a:t>D</a:t>
            </a:r>
            <a:r>
              <a:rPr lang="zh-CN" altLang="en-US" sz="2400" dirty="0">
                <a:latin typeface="+mn-ea"/>
                <a:ea typeface="+mn-ea"/>
              </a:rPr>
              <a:t>．烯烃的官能团是双键 </a:t>
            </a:r>
            <a:endParaRPr lang="en-US" altLang="zh-CN" sz="2400" dirty="0">
              <a:latin typeface="+mn-ea"/>
              <a:ea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sz="2400" dirty="0">
                <a:latin typeface="+mn-ea"/>
                <a:ea typeface="+mn-ea"/>
              </a:rPr>
              <a:t>2.</a:t>
            </a:r>
            <a:r>
              <a:rPr lang="zh-CN" altLang="en-US" sz="2400" dirty="0">
                <a:latin typeface="+mn-ea"/>
                <a:ea typeface="+mn-ea"/>
              </a:rPr>
              <a:t>下列原子或原子团，不属于官能团的是 </a:t>
            </a:r>
            <a:r>
              <a:rPr lang="en-US" altLang="zh-CN" sz="2400" dirty="0">
                <a:latin typeface="+mn-ea"/>
                <a:ea typeface="+mn-ea"/>
              </a:rPr>
              <a:t>(    )  </a:t>
            </a:r>
          </a:p>
          <a:p>
            <a:pPr>
              <a:lnSpc>
                <a:spcPct val="150000"/>
              </a:lnSpc>
            </a:pPr>
            <a:r>
              <a:rPr lang="en-US" altLang="zh-CN" sz="2400" dirty="0">
                <a:latin typeface="+mn-ea"/>
                <a:ea typeface="+mn-ea"/>
              </a:rPr>
              <a:t>    A</a:t>
            </a:r>
            <a:r>
              <a:rPr lang="zh-CN" altLang="en-US" sz="2400" dirty="0">
                <a:latin typeface="+mn-ea"/>
                <a:ea typeface="+mn-ea"/>
              </a:rPr>
              <a:t>．</a:t>
            </a:r>
            <a:r>
              <a:rPr lang="en-US" altLang="zh-CN" sz="2400" dirty="0">
                <a:latin typeface="+mn-ea"/>
                <a:ea typeface="+mn-ea"/>
              </a:rPr>
              <a:t>OH</a:t>
            </a:r>
            <a:r>
              <a:rPr lang="en-US" altLang="zh-CN" sz="2400" baseline="30000" dirty="0">
                <a:latin typeface="+mn-ea"/>
                <a:ea typeface="+mn-ea"/>
              </a:rPr>
              <a:t>—</a:t>
            </a:r>
            <a:r>
              <a:rPr lang="en-US" altLang="zh-CN" sz="2400" dirty="0">
                <a:latin typeface="+mn-ea"/>
                <a:ea typeface="+mn-ea"/>
              </a:rPr>
              <a:t>      B</a:t>
            </a:r>
            <a:r>
              <a:rPr lang="zh-CN" altLang="en-US" sz="2400" dirty="0">
                <a:latin typeface="+mn-ea"/>
                <a:ea typeface="+mn-ea"/>
              </a:rPr>
              <a:t>．</a:t>
            </a:r>
            <a:r>
              <a:rPr lang="en-US" altLang="zh-CN" sz="2400" dirty="0">
                <a:latin typeface="+mn-ea"/>
                <a:ea typeface="+mn-ea"/>
              </a:rPr>
              <a:t>—NO</a:t>
            </a:r>
            <a:r>
              <a:rPr lang="en-US" altLang="zh-CN" sz="2400" baseline="-25000" dirty="0">
                <a:latin typeface="+mn-ea"/>
                <a:ea typeface="+mn-ea"/>
              </a:rPr>
              <a:t>2</a:t>
            </a:r>
            <a:r>
              <a:rPr lang="en-US" altLang="zh-CN" sz="2400" dirty="0">
                <a:latin typeface="+mn-ea"/>
                <a:ea typeface="+mn-ea"/>
              </a:rPr>
              <a:t>         C</a:t>
            </a:r>
            <a:r>
              <a:rPr lang="zh-CN" altLang="en-US" sz="2400" dirty="0">
                <a:latin typeface="+mn-ea"/>
                <a:ea typeface="+mn-ea"/>
              </a:rPr>
              <a:t>．</a:t>
            </a:r>
            <a:r>
              <a:rPr lang="en-US" altLang="zh-CN" sz="2400" dirty="0">
                <a:latin typeface="+mn-ea"/>
                <a:ea typeface="+mn-ea"/>
              </a:rPr>
              <a:t>—SO</a:t>
            </a:r>
            <a:r>
              <a:rPr lang="en-US" altLang="zh-CN" sz="2400" baseline="-25000" dirty="0">
                <a:latin typeface="+mn-ea"/>
                <a:ea typeface="+mn-ea"/>
              </a:rPr>
              <a:t>3</a:t>
            </a:r>
            <a:r>
              <a:rPr lang="en-US" altLang="zh-CN" sz="2400" dirty="0">
                <a:latin typeface="+mn-ea"/>
                <a:ea typeface="+mn-ea"/>
              </a:rPr>
              <a:t>H       D</a:t>
            </a:r>
            <a:r>
              <a:rPr lang="zh-CN" altLang="en-US" sz="2400" dirty="0">
                <a:latin typeface="+mn-ea"/>
                <a:ea typeface="+mn-ea"/>
              </a:rPr>
              <a:t>．</a:t>
            </a:r>
            <a:r>
              <a:rPr lang="en-US" altLang="zh-CN" sz="2400" dirty="0">
                <a:latin typeface="+mn-ea"/>
                <a:ea typeface="+mn-ea"/>
              </a:rPr>
              <a:t>—</a:t>
            </a:r>
            <a:r>
              <a:rPr lang="en-US" altLang="zh-CN" sz="2400" dirty="0" err="1">
                <a:latin typeface="+mn-ea"/>
                <a:ea typeface="+mn-ea"/>
              </a:rPr>
              <a:t>Cl</a:t>
            </a:r>
            <a:r>
              <a:rPr lang="en-US" altLang="zh-CN" sz="2400" dirty="0">
                <a:latin typeface="+mn-ea"/>
                <a:ea typeface="+mn-ea"/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en-US" altLang="zh-CN" sz="2400" dirty="0">
                <a:latin typeface="+mn-ea"/>
                <a:ea typeface="+mn-ea"/>
              </a:rPr>
              <a:t>3</a:t>
            </a:r>
            <a:r>
              <a:rPr lang="zh-CN" altLang="en-US" sz="2400" dirty="0">
                <a:latin typeface="+mn-ea"/>
                <a:ea typeface="+mn-ea"/>
              </a:rPr>
              <a:t>．下列有机化合物不属于链状的是</a:t>
            </a:r>
            <a:r>
              <a:rPr lang="zh-CN" altLang="zh-CN" sz="2400" dirty="0">
                <a:latin typeface="+mn-ea"/>
                <a:ea typeface="+mn-ea"/>
              </a:rPr>
              <a:t>（</a:t>
            </a:r>
            <a:r>
              <a:rPr lang="en-US" altLang="zh-CN" sz="2400" dirty="0">
                <a:latin typeface="+mn-ea"/>
                <a:ea typeface="+mn-ea"/>
              </a:rPr>
              <a:t>    </a:t>
            </a:r>
            <a:r>
              <a:rPr lang="zh-CN" altLang="zh-CN" sz="2400" dirty="0">
                <a:latin typeface="+mn-ea"/>
                <a:ea typeface="+mn-ea"/>
              </a:rPr>
              <a:t>）</a:t>
            </a:r>
          </a:p>
          <a:p>
            <a:pPr>
              <a:lnSpc>
                <a:spcPct val="150000"/>
              </a:lnSpc>
            </a:pPr>
            <a:r>
              <a:rPr lang="en-US" altLang="zh-CN" sz="2400" dirty="0">
                <a:latin typeface="+mn-ea"/>
                <a:ea typeface="+mn-ea"/>
              </a:rPr>
              <a:t>    A</a:t>
            </a:r>
            <a:r>
              <a:rPr lang="zh-CN" altLang="zh-CN" sz="2400" dirty="0">
                <a:latin typeface="+mn-ea"/>
                <a:ea typeface="+mn-ea"/>
              </a:rPr>
              <a:t>．</a:t>
            </a:r>
            <a:r>
              <a:rPr lang="zh-CN" altLang="en-US" sz="2400" dirty="0">
                <a:latin typeface="+mn-ea"/>
                <a:ea typeface="+mn-ea"/>
              </a:rPr>
              <a:t>甲烷</a:t>
            </a:r>
            <a:r>
              <a:rPr lang="en-US" altLang="zh-CN" sz="2400" dirty="0">
                <a:latin typeface="+mn-ea"/>
                <a:ea typeface="+mn-ea"/>
              </a:rPr>
              <a:t>     B.  </a:t>
            </a:r>
            <a:r>
              <a:rPr lang="zh-CN" altLang="en-US" sz="2400" dirty="0">
                <a:latin typeface="+mn-ea"/>
                <a:ea typeface="+mn-ea"/>
              </a:rPr>
              <a:t>乙烯</a:t>
            </a:r>
            <a:r>
              <a:rPr lang="en-US" altLang="zh-CN" sz="2400" dirty="0">
                <a:latin typeface="+mn-ea"/>
                <a:ea typeface="+mn-ea"/>
              </a:rPr>
              <a:t>      C.  </a:t>
            </a:r>
            <a:r>
              <a:rPr lang="zh-CN" altLang="zh-CN" sz="2400" dirty="0">
                <a:latin typeface="+mn-ea"/>
                <a:ea typeface="+mn-ea"/>
              </a:rPr>
              <a:t>酒精</a:t>
            </a:r>
            <a:r>
              <a:rPr lang="en-US" altLang="zh-CN" sz="2400" dirty="0">
                <a:latin typeface="+mn-ea"/>
                <a:ea typeface="+mn-ea"/>
              </a:rPr>
              <a:t>     D. </a:t>
            </a:r>
            <a:r>
              <a:rPr lang="zh-CN" altLang="en-US" sz="2400" dirty="0">
                <a:latin typeface="+mn-ea"/>
                <a:ea typeface="+mn-ea"/>
              </a:rPr>
              <a:t>苯</a:t>
            </a:r>
            <a:endParaRPr lang="zh-CN" altLang="zh-CN" sz="2400" dirty="0">
              <a:latin typeface="+mn-ea"/>
              <a:ea typeface="+mn-ea"/>
            </a:endParaRPr>
          </a:p>
          <a:p>
            <a:pPr>
              <a:lnSpc>
                <a:spcPct val="150000"/>
              </a:lnSpc>
            </a:pPr>
            <a:endParaRPr lang="en-US" altLang="zh-CN" sz="2400" b="1" dirty="0">
              <a:latin typeface="+mn-ea"/>
              <a:ea typeface="+mn-ea"/>
            </a:endParaRP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7407AD74-C790-4122-859D-0254D641F726}"/>
              </a:ext>
            </a:extLst>
          </p:cNvPr>
          <p:cNvGrpSpPr/>
          <p:nvPr/>
        </p:nvGrpSpPr>
        <p:grpSpPr>
          <a:xfrm>
            <a:off x="263352" y="548680"/>
            <a:ext cx="2520280" cy="1728192"/>
            <a:chOff x="20345" y="262272"/>
            <a:chExt cx="3050575" cy="2091823"/>
          </a:xfrm>
        </p:grpSpPr>
        <p:pic>
          <p:nvPicPr>
            <p:cNvPr id="6" name="图片 5">
              <a:extLst>
                <a:ext uri="{FF2B5EF4-FFF2-40B4-BE49-F238E27FC236}">
                  <a16:creationId xmlns:a16="http://schemas.microsoft.com/office/drawing/2014/main" id="{1EB97235-24D4-4192-B191-3BE6C3B6DEC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345" y="262272"/>
              <a:ext cx="2091823" cy="2091823"/>
            </a:xfrm>
            <a:prstGeom prst="rect">
              <a:avLst/>
            </a:prstGeom>
          </p:spPr>
        </p:pic>
        <p:sp>
          <p:nvSpPr>
            <p:cNvPr id="7" name="Text Box 12">
              <a:extLst>
                <a:ext uri="{FF2B5EF4-FFF2-40B4-BE49-F238E27FC236}">
                  <a16:creationId xmlns:a16="http://schemas.microsoft.com/office/drawing/2014/main" id="{F6ED5966-5C04-4AAF-9438-5E4BCDD3EEE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51520" y="1556792"/>
              <a:ext cx="2819400" cy="5588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zh-CN" altLang="en-US" sz="2400" b="1" dirty="0">
                  <a:solidFill>
                    <a:schemeClr val="bg1"/>
                  </a:solidFill>
                  <a:latin typeface="+mn-ea"/>
                  <a:ea typeface="+mn-ea"/>
                </a:rPr>
                <a:t>目标检测</a:t>
              </a:r>
              <a:endParaRPr lang="en-US" altLang="zh-CN" sz="2400" b="1" dirty="0">
                <a:solidFill>
                  <a:schemeClr val="bg1"/>
                </a:solidFill>
                <a:latin typeface="+mn-ea"/>
                <a:ea typeface="+mn-ea"/>
              </a:endParaRPr>
            </a:p>
          </p:txBody>
        </p: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内容占位符 2"/>
          <p:cNvSpPr>
            <a:spLocks noGrp="1"/>
          </p:cNvSpPr>
          <p:nvPr>
            <p:ph idx="1"/>
          </p:nvPr>
        </p:nvSpPr>
        <p:spPr>
          <a:xfrm>
            <a:off x="559450" y="2132856"/>
            <a:ext cx="8272854" cy="2698328"/>
          </a:xfr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eaLnBrk="1" hangingPunct="1">
              <a:buFont typeface="Wingdings" pitchFamily="2" charset="2"/>
              <a:buChar char="l"/>
            </a:pPr>
            <a:r>
              <a:rPr lang="en-US" altLang="zh-CN" sz="2800" b="1" dirty="0">
                <a:latin typeface="+mn-ea"/>
              </a:rPr>
              <a:t>1773</a:t>
            </a:r>
            <a:r>
              <a:rPr lang="zh-CN" altLang="en-US" sz="2800" b="1" dirty="0">
                <a:latin typeface="+mn-ea"/>
              </a:rPr>
              <a:t>年 首次由尿内取得纯的尿素</a:t>
            </a:r>
            <a:r>
              <a:rPr lang="en-US" altLang="zh-CN" sz="2800" b="1" dirty="0">
                <a:latin typeface="+mn-ea"/>
              </a:rPr>
              <a:t> </a:t>
            </a:r>
          </a:p>
          <a:p>
            <a:pPr eaLnBrk="1" hangingPunct="1">
              <a:buFont typeface="Wingdings" pitchFamily="2" charset="2"/>
              <a:buChar char="l"/>
            </a:pPr>
            <a:r>
              <a:rPr lang="en-US" altLang="zh-CN" sz="2800" b="1" dirty="0">
                <a:latin typeface="+mn-ea"/>
              </a:rPr>
              <a:t>1805</a:t>
            </a:r>
            <a:r>
              <a:rPr lang="zh-CN" altLang="en-US" sz="2800" b="1" dirty="0">
                <a:latin typeface="+mn-ea"/>
              </a:rPr>
              <a:t>年 由鸦片内取得第一个生物碱</a:t>
            </a:r>
            <a:r>
              <a:rPr lang="en-US" altLang="zh-CN" sz="2800" b="1" dirty="0">
                <a:latin typeface="+mn-ea"/>
              </a:rPr>
              <a:t>——</a:t>
            </a:r>
            <a:r>
              <a:rPr lang="zh-CN" altLang="en-US" sz="2800" b="1" dirty="0">
                <a:latin typeface="+mn-ea"/>
              </a:rPr>
              <a:t>吗啡</a:t>
            </a:r>
            <a:endParaRPr lang="zh-CN" altLang="en-US" b="1" dirty="0">
              <a:latin typeface="+mn-ea"/>
            </a:endParaRPr>
          </a:p>
          <a:p>
            <a:pPr eaLnBrk="1" hangingPunct="1">
              <a:buFont typeface="Wingdings" pitchFamily="2" charset="2"/>
              <a:buChar char="l"/>
            </a:pPr>
            <a:r>
              <a:rPr lang="en-US" altLang="zh-CN" sz="2800" b="1" dirty="0">
                <a:latin typeface="+mn-ea"/>
              </a:rPr>
              <a:t>1828</a:t>
            </a:r>
            <a:r>
              <a:rPr lang="zh-CN" altLang="en-US" sz="2800" b="1" dirty="0">
                <a:latin typeface="+mn-ea"/>
              </a:rPr>
              <a:t>年，德国化学家，</a:t>
            </a:r>
            <a:r>
              <a:rPr lang="zh-CN" altLang="en-US" sz="2800" b="1" dirty="0">
                <a:solidFill>
                  <a:srgbClr val="CC3300"/>
                </a:solidFill>
                <a:latin typeface="+mn-ea"/>
              </a:rPr>
              <a:t>维勒</a:t>
            </a:r>
            <a:r>
              <a:rPr lang="zh-CN" altLang="en-US" sz="2800" b="1" dirty="0">
                <a:latin typeface="+mn-ea"/>
              </a:rPr>
              <a:t>（</a:t>
            </a:r>
            <a:r>
              <a:rPr lang="en-US" altLang="zh-CN" sz="2800" b="1" dirty="0">
                <a:latin typeface="Times New Roman" pitchFamily="18" charset="0"/>
                <a:cs typeface="Times New Roman" pitchFamily="18" charset="0"/>
              </a:rPr>
              <a:t>Friedrich Wohler</a:t>
            </a:r>
            <a:r>
              <a:rPr lang="zh-CN" altLang="en-US" sz="2800" b="1" dirty="0">
                <a:latin typeface="+mn-ea"/>
              </a:rPr>
              <a:t>）首次人工用无机物氯化铵溶液和氰酸银反应合成了有机物尿素</a:t>
            </a:r>
          </a:p>
        </p:txBody>
      </p:sp>
      <p:pic>
        <p:nvPicPr>
          <p:cNvPr id="17411" name="图片 3" descr="维勒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192344" y="2272018"/>
            <a:ext cx="1800225" cy="2551113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grpSp>
        <p:nvGrpSpPr>
          <p:cNvPr id="7" name="组合 6">
            <a:extLst>
              <a:ext uri="{FF2B5EF4-FFF2-40B4-BE49-F238E27FC236}">
                <a16:creationId xmlns:a16="http://schemas.microsoft.com/office/drawing/2014/main" id="{82741C4B-B765-475B-BBD5-4F082654DC1B}"/>
              </a:ext>
            </a:extLst>
          </p:cNvPr>
          <p:cNvGrpSpPr/>
          <p:nvPr/>
        </p:nvGrpSpPr>
        <p:grpSpPr>
          <a:xfrm>
            <a:off x="179514" y="620688"/>
            <a:ext cx="4692350" cy="587152"/>
            <a:chOff x="535865" y="609600"/>
            <a:chExt cx="4692350" cy="587152"/>
          </a:xfrm>
        </p:grpSpPr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74C67B72-7E21-4904-AAEA-3B6E9469516C}"/>
                </a:ext>
              </a:extLst>
            </p:cNvPr>
            <p:cNvSpPr/>
            <p:nvPr/>
          </p:nvSpPr>
          <p:spPr>
            <a:xfrm>
              <a:off x="1341143" y="609600"/>
              <a:ext cx="3887072" cy="587152"/>
            </a:xfrm>
            <a:prstGeom prst="rect">
              <a:avLst/>
            </a:prstGeom>
            <a:noFill/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3DC20C09-CE23-4BB2-823A-38B72A9B690E}"/>
                </a:ext>
              </a:extLst>
            </p:cNvPr>
            <p:cNvSpPr/>
            <p:nvPr/>
          </p:nvSpPr>
          <p:spPr>
            <a:xfrm>
              <a:off x="535865" y="609600"/>
              <a:ext cx="139571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C97A6D24-EF30-4525-82BC-A66F2278BAF2}"/>
                </a:ext>
              </a:extLst>
            </p:cNvPr>
            <p:cNvSpPr/>
            <p:nvPr/>
          </p:nvSpPr>
          <p:spPr>
            <a:xfrm>
              <a:off x="740061" y="609600"/>
              <a:ext cx="139571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89BD67FF-9FB3-44D3-9822-AD707068852F}"/>
                </a:ext>
              </a:extLst>
            </p:cNvPr>
            <p:cNvSpPr/>
            <p:nvPr/>
          </p:nvSpPr>
          <p:spPr>
            <a:xfrm>
              <a:off x="942606" y="609600"/>
              <a:ext cx="333913" cy="58715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2" name="Text Box 15">
            <a:extLst>
              <a:ext uri="{FF2B5EF4-FFF2-40B4-BE49-F238E27FC236}">
                <a16:creationId xmlns:a16="http://schemas.microsoft.com/office/drawing/2014/main" id="{83AF95AC-8EC0-45F9-98A6-C58DE1ED1F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0168" y="597670"/>
            <a:ext cx="4023704" cy="633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3200" b="1" dirty="0">
                <a:latin typeface="+mj-ea"/>
                <a:ea typeface="+mj-ea"/>
              </a:rPr>
              <a:t>有机化合物的发现</a:t>
            </a:r>
            <a:endParaRPr lang="en-US" altLang="zh-CN" sz="3200" b="1" dirty="0">
              <a:latin typeface="+mj-ea"/>
              <a:ea typeface="+mj-ea"/>
            </a:endParaRP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extBox 1"/>
          <p:cNvSpPr txBox="1">
            <a:spLocks noChangeArrowheads="1"/>
          </p:cNvSpPr>
          <p:nvPr/>
        </p:nvSpPr>
        <p:spPr bwMode="auto">
          <a:xfrm>
            <a:off x="5159896" y="3032256"/>
            <a:ext cx="3857625" cy="7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3600" dirty="0">
                <a:latin typeface="+mn-ea"/>
                <a:ea typeface="+mn-ea"/>
              </a:rPr>
              <a:t>1.B  2.A  3.D  </a:t>
            </a:r>
            <a:endParaRPr lang="zh-CN" altLang="en-US" sz="3600" dirty="0">
              <a:latin typeface="+mn-ea"/>
              <a:ea typeface="+mn-ea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7C712CF3-CC08-426A-AA87-078FC1CE8F1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97" y="617714"/>
            <a:ext cx="1899806" cy="1320564"/>
          </a:xfrm>
          <a:prstGeom prst="rect">
            <a:avLst/>
          </a:prstGeom>
        </p:spPr>
      </p:pic>
      <p:sp>
        <p:nvSpPr>
          <p:cNvPr id="6" name="Rectangle 6">
            <a:extLst>
              <a:ext uri="{FF2B5EF4-FFF2-40B4-BE49-F238E27FC236}">
                <a16:creationId xmlns:a16="http://schemas.microsoft.com/office/drawing/2014/main" id="{A9D8C90B-A545-4AA8-9315-1E2FD31640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9672" y="1003639"/>
            <a:ext cx="1635384" cy="1015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indent="266700"/>
            <a:r>
              <a:rPr lang="zh-CN" altLang="en-US" sz="3200" dirty="0">
                <a:latin typeface="+mj-ea"/>
                <a:ea typeface="+mj-ea"/>
                <a:cs typeface="Times New Roman" charset="0"/>
              </a:rPr>
              <a:t>答案</a:t>
            </a:r>
            <a:r>
              <a:rPr lang="zh-CN" altLang="en-US" sz="2800" b="1" dirty="0">
                <a:latin typeface="Times New Roman" charset="0"/>
                <a:cs typeface="Times New Roman" charset="0"/>
              </a:rPr>
              <a:t>：</a:t>
            </a:r>
            <a:endParaRPr lang="en-US" altLang="zh-CN" sz="2800" b="1" dirty="0"/>
          </a:p>
          <a:p>
            <a:pPr indent="266700" eaLnBrk="0" hangingPunct="0"/>
            <a:endParaRPr lang="zh-CN" altLang="en-US" sz="2800" b="1" dirty="0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39A57131-C94B-4A77-921E-22CA853169D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3128" y="2924943"/>
            <a:ext cx="1008112" cy="1008112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2A578F25-C0E6-4571-974E-FDAD17218E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1544" y="1484784"/>
            <a:ext cx="9732275" cy="4578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269822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70C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"/>
              <a:ea typeface="微软雅黑" panose="020B0503020204020204" pitchFamily="34" charset="-122"/>
              <a:cs typeface="+mn-ea"/>
              <a:sym typeface=""/>
            </a:endParaRPr>
          </a:p>
        </p:txBody>
      </p:sp>
      <p:pic>
        <p:nvPicPr>
          <p:cNvPr id="13" name="图片 12">
            <a:extLst>
              <a:ext uri="{FF2B5EF4-FFF2-40B4-BE49-F238E27FC236}">
                <a16:creationId xmlns:a16="http://schemas.microsoft.com/office/drawing/2014/main" id="{01A7B41A-ACC6-488A-8AB8-C7C1649D7A8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3912" y="2780928"/>
            <a:ext cx="4968552" cy="1512168"/>
          </a:xfrm>
          <a:prstGeom prst="rect">
            <a:avLst/>
          </a:prstGeom>
        </p:spPr>
      </p:pic>
      <p:grpSp>
        <p:nvGrpSpPr>
          <p:cNvPr id="5" name="组合 4">
            <a:extLst>
              <a:ext uri="{FF2B5EF4-FFF2-40B4-BE49-F238E27FC236}">
                <a16:creationId xmlns:a16="http://schemas.microsoft.com/office/drawing/2014/main" id="{4B97B61D-C202-4DC3-A8E9-448D074005B1}"/>
              </a:ext>
            </a:extLst>
          </p:cNvPr>
          <p:cNvGrpSpPr/>
          <p:nvPr/>
        </p:nvGrpSpPr>
        <p:grpSpPr>
          <a:xfrm>
            <a:off x="7752184" y="4509120"/>
            <a:ext cx="4072318" cy="2349329"/>
            <a:chOff x="3094835" y="3533040"/>
            <a:chExt cx="4865003" cy="2490143"/>
          </a:xfrm>
        </p:grpSpPr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86F97BAB-D9DE-4FEC-8FE9-E5B22AFCC483}"/>
                </a:ext>
              </a:extLst>
            </p:cNvPr>
            <p:cNvSpPr/>
            <p:nvPr/>
          </p:nvSpPr>
          <p:spPr>
            <a:xfrm>
              <a:off x="5073768" y="4330027"/>
              <a:ext cx="28575" cy="219077"/>
            </a:xfrm>
            <a:custGeom>
              <a:avLst/>
              <a:gdLst>
                <a:gd name="connsiteX0" fmla="*/ 0 w 28575"/>
                <a:gd name="connsiteY0" fmla="*/ 13787 h 219075"/>
                <a:gd name="connsiteX1" fmla="*/ 0 w 28575"/>
                <a:gd name="connsiteY1" fmla="*/ 213908 h 219075"/>
                <a:gd name="connsiteX2" fmla="*/ 28575 w 28575"/>
                <a:gd name="connsiteY2" fmla="*/ 213908 h 219075"/>
                <a:gd name="connsiteX3" fmla="*/ 28575 w 28575"/>
                <a:gd name="connsiteY3" fmla="*/ 13787 h 219075"/>
                <a:gd name="connsiteX4" fmla="*/ 0 w 28575"/>
                <a:gd name="connsiteY4" fmla="*/ 13787 h 219075"/>
                <a:gd name="connsiteX5" fmla="*/ 0 w 28575"/>
                <a:gd name="connsiteY5" fmla="*/ 13787 h 219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575" h="219075">
                  <a:moveTo>
                    <a:pt x="0" y="13787"/>
                  </a:moveTo>
                  <a:cubicBezTo>
                    <a:pt x="0" y="80462"/>
                    <a:pt x="0" y="147233"/>
                    <a:pt x="0" y="213908"/>
                  </a:cubicBezTo>
                  <a:cubicBezTo>
                    <a:pt x="0" y="232291"/>
                    <a:pt x="28575" y="232291"/>
                    <a:pt x="28575" y="213908"/>
                  </a:cubicBezTo>
                  <a:cubicBezTo>
                    <a:pt x="28575" y="147233"/>
                    <a:pt x="28575" y="80462"/>
                    <a:pt x="28575" y="13787"/>
                  </a:cubicBezTo>
                  <a:cubicBezTo>
                    <a:pt x="28575" y="-4596"/>
                    <a:pt x="0" y="-4596"/>
                    <a:pt x="0" y="13787"/>
                  </a:cubicBezTo>
                  <a:lnTo>
                    <a:pt x="0" y="13787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微软雅黑"/>
                <a:cs typeface="+mn-cs"/>
              </a:endParaRPr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B08087DF-6EF0-47E6-B89A-97494BD11116}"/>
                </a:ext>
              </a:extLst>
            </p:cNvPr>
            <p:cNvSpPr/>
            <p:nvPr/>
          </p:nvSpPr>
          <p:spPr>
            <a:xfrm>
              <a:off x="3643459" y="3613611"/>
              <a:ext cx="1781173" cy="1047758"/>
            </a:xfrm>
            <a:custGeom>
              <a:avLst/>
              <a:gdLst>
                <a:gd name="connsiteX0" fmla="*/ 27564 w 1781175"/>
                <a:gd name="connsiteY0" fmla="*/ 1054620 h 1047750"/>
                <a:gd name="connsiteX1" fmla="*/ 218254 w 1781175"/>
                <a:gd name="connsiteY1" fmla="*/ 330148 h 1047750"/>
                <a:gd name="connsiteX2" fmla="*/ 871098 w 1781175"/>
                <a:gd name="connsiteY2" fmla="*/ 15823 h 1047750"/>
                <a:gd name="connsiteX3" fmla="*/ 1549278 w 1781175"/>
                <a:gd name="connsiteY3" fmla="*/ 150412 h 1047750"/>
                <a:gd name="connsiteX4" fmla="*/ 1779402 w 1781175"/>
                <a:gd name="connsiteY4" fmla="*/ 772394 h 1047750"/>
                <a:gd name="connsiteX5" fmla="*/ 1697296 w 1781175"/>
                <a:gd name="connsiteY5" fmla="*/ 758773 h 1047750"/>
                <a:gd name="connsiteX6" fmla="*/ 1497176 w 1781175"/>
                <a:gd name="connsiteY6" fmla="*/ 215372 h 1047750"/>
                <a:gd name="connsiteX7" fmla="*/ 883957 w 1781175"/>
                <a:gd name="connsiteY7" fmla="*/ 98119 h 1047750"/>
                <a:gd name="connsiteX8" fmla="*/ 278738 w 1781175"/>
                <a:gd name="connsiteY8" fmla="*/ 387394 h 1047750"/>
                <a:gd name="connsiteX9" fmla="*/ 107098 w 1781175"/>
                <a:gd name="connsiteY9" fmla="*/ 1029855 h 1047750"/>
                <a:gd name="connsiteX10" fmla="*/ 27564 w 1781175"/>
                <a:gd name="connsiteY10" fmla="*/ 1054620 h 1047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81175" h="1047750">
                  <a:moveTo>
                    <a:pt x="27564" y="1054620"/>
                  </a:moveTo>
                  <a:cubicBezTo>
                    <a:pt x="-45874" y="819067"/>
                    <a:pt x="30707" y="527888"/>
                    <a:pt x="218254" y="330148"/>
                  </a:cubicBezTo>
                  <a:cubicBezTo>
                    <a:pt x="372750" y="167176"/>
                    <a:pt x="598493" y="58495"/>
                    <a:pt x="871098" y="15823"/>
                  </a:cubicBezTo>
                  <a:cubicBezTo>
                    <a:pt x="1066075" y="-14657"/>
                    <a:pt x="1342014" y="-15990"/>
                    <a:pt x="1549278" y="150412"/>
                  </a:cubicBezTo>
                  <a:cubicBezTo>
                    <a:pt x="1725205" y="291667"/>
                    <a:pt x="1817693" y="541604"/>
                    <a:pt x="1779402" y="772394"/>
                  </a:cubicBezTo>
                  <a:lnTo>
                    <a:pt x="1697296" y="758773"/>
                  </a:lnTo>
                  <a:cubicBezTo>
                    <a:pt x="1730825" y="556748"/>
                    <a:pt x="1650434" y="338435"/>
                    <a:pt x="1497176" y="215372"/>
                  </a:cubicBezTo>
                  <a:cubicBezTo>
                    <a:pt x="1313629" y="67925"/>
                    <a:pt x="1062360" y="70211"/>
                    <a:pt x="883957" y="98119"/>
                  </a:cubicBezTo>
                  <a:cubicBezTo>
                    <a:pt x="706696" y="125837"/>
                    <a:pt x="457713" y="198513"/>
                    <a:pt x="278738" y="387394"/>
                  </a:cubicBezTo>
                  <a:cubicBezTo>
                    <a:pt x="111384" y="563987"/>
                    <a:pt x="42423" y="822210"/>
                    <a:pt x="107098" y="1029855"/>
                  </a:cubicBezTo>
                  <a:lnTo>
                    <a:pt x="27564" y="105462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微软雅黑"/>
                <a:cs typeface="+mn-cs"/>
              </a:endParaRPr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672DA54C-2955-43D6-9B9C-78965E4717ED}"/>
                </a:ext>
              </a:extLst>
            </p:cNvPr>
            <p:cNvSpPr/>
            <p:nvPr/>
          </p:nvSpPr>
          <p:spPr>
            <a:xfrm>
              <a:off x="3664256" y="3634386"/>
              <a:ext cx="1743072" cy="1000133"/>
            </a:xfrm>
            <a:custGeom>
              <a:avLst/>
              <a:gdLst>
                <a:gd name="connsiteX0" fmla="*/ 20864 w 1743075"/>
                <a:gd name="connsiteY0" fmla="*/ 1007650 h 1000125"/>
                <a:gd name="connsiteX1" fmla="*/ 212602 w 1743075"/>
                <a:gd name="connsiteY1" fmla="*/ 323659 h 1000125"/>
                <a:gd name="connsiteX2" fmla="*/ 853539 w 1743075"/>
                <a:gd name="connsiteY2" fmla="*/ 15621 h 1000125"/>
                <a:gd name="connsiteX3" fmla="*/ 1046230 w 1743075"/>
                <a:gd name="connsiteY3" fmla="*/ 0 h 1000125"/>
                <a:gd name="connsiteX4" fmla="*/ 1515527 w 1743075"/>
                <a:gd name="connsiteY4" fmla="*/ 145828 h 1000125"/>
                <a:gd name="connsiteX5" fmla="*/ 1741174 w 1743075"/>
                <a:gd name="connsiteY5" fmla="*/ 727520 h 1000125"/>
                <a:gd name="connsiteX6" fmla="*/ 1700122 w 1743075"/>
                <a:gd name="connsiteY6" fmla="*/ 720662 h 1000125"/>
                <a:gd name="connsiteX7" fmla="*/ 1489524 w 1743075"/>
                <a:gd name="connsiteY7" fmla="*/ 178213 h 1000125"/>
                <a:gd name="connsiteX8" fmla="*/ 1046421 w 1743075"/>
                <a:gd name="connsiteY8" fmla="*/ 41529 h 1000125"/>
                <a:gd name="connsiteX9" fmla="*/ 860112 w 1743075"/>
                <a:gd name="connsiteY9" fmla="*/ 56674 h 1000125"/>
                <a:gd name="connsiteX10" fmla="*/ 242987 w 1743075"/>
                <a:gd name="connsiteY10" fmla="*/ 352234 h 1000125"/>
                <a:gd name="connsiteX11" fmla="*/ 60774 w 1743075"/>
                <a:gd name="connsiteY11" fmla="*/ 995172 h 1000125"/>
                <a:gd name="connsiteX12" fmla="*/ 20864 w 1743075"/>
                <a:gd name="connsiteY12" fmla="*/ 1007650 h 1000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43075" h="1000125">
                  <a:moveTo>
                    <a:pt x="20864" y="1007650"/>
                  </a:moveTo>
                  <a:cubicBezTo>
                    <a:pt x="-40191" y="782765"/>
                    <a:pt x="35437" y="510635"/>
                    <a:pt x="212602" y="323659"/>
                  </a:cubicBezTo>
                  <a:cubicBezTo>
                    <a:pt x="363859" y="164021"/>
                    <a:pt x="585506" y="57531"/>
                    <a:pt x="853539" y="15621"/>
                  </a:cubicBezTo>
                  <a:cubicBezTo>
                    <a:pt x="919643" y="5239"/>
                    <a:pt x="984508" y="0"/>
                    <a:pt x="1046230" y="0"/>
                  </a:cubicBezTo>
                  <a:cubicBezTo>
                    <a:pt x="1237111" y="0"/>
                    <a:pt x="1395036" y="49054"/>
                    <a:pt x="1515527" y="145828"/>
                  </a:cubicBezTo>
                  <a:cubicBezTo>
                    <a:pt x="1680595" y="278321"/>
                    <a:pt x="1769654" y="509873"/>
                    <a:pt x="1741174" y="727520"/>
                  </a:cubicBezTo>
                  <a:lnTo>
                    <a:pt x="1700122" y="720662"/>
                  </a:lnTo>
                  <a:cubicBezTo>
                    <a:pt x="1726315" y="517398"/>
                    <a:pt x="1643162" y="301657"/>
                    <a:pt x="1489524" y="178213"/>
                  </a:cubicBezTo>
                  <a:cubicBezTo>
                    <a:pt x="1376557" y="87535"/>
                    <a:pt x="1227491" y="41529"/>
                    <a:pt x="1046421" y="41529"/>
                  </a:cubicBezTo>
                  <a:cubicBezTo>
                    <a:pt x="986889" y="41529"/>
                    <a:pt x="924215" y="46577"/>
                    <a:pt x="860112" y="56674"/>
                  </a:cubicBezTo>
                  <a:cubicBezTo>
                    <a:pt x="679613" y="84868"/>
                    <a:pt x="426057" y="159067"/>
                    <a:pt x="242987" y="352234"/>
                  </a:cubicBezTo>
                  <a:cubicBezTo>
                    <a:pt x="75919" y="528542"/>
                    <a:pt x="4195" y="784193"/>
                    <a:pt x="60774" y="995172"/>
                  </a:cubicBezTo>
                  <a:lnTo>
                    <a:pt x="20864" y="1007650"/>
                  </a:lnTo>
                  <a:close/>
                </a:path>
              </a:pathLst>
            </a:custGeom>
            <a:solidFill>
              <a:srgbClr val="DBD75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微软雅黑"/>
                <a:cs typeface="+mn-cs"/>
              </a:endParaRPr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2CB366EC-A630-48F6-A38D-983D0C3092E9}"/>
                </a:ext>
              </a:extLst>
            </p:cNvPr>
            <p:cNvSpPr/>
            <p:nvPr/>
          </p:nvSpPr>
          <p:spPr>
            <a:xfrm>
              <a:off x="3094835" y="4508696"/>
              <a:ext cx="1238248" cy="1514487"/>
            </a:xfrm>
            <a:custGeom>
              <a:avLst/>
              <a:gdLst>
                <a:gd name="connsiteX0" fmla="*/ 1231795 w 1238250"/>
                <a:gd name="connsiteY0" fmla="*/ 1342358 h 1514475"/>
                <a:gd name="connsiteX1" fmla="*/ 921185 w 1238250"/>
                <a:gd name="connsiteY1" fmla="*/ 498634 h 1514475"/>
                <a:gd name="connsiteX2" fmla="*/ 875369 w 1238250"/>
                <a:gd name="connsiteY2" fmla="*/ 241649 h 1514475"/>
                <a:gd name="connsiteX3" fmla="*/ 875369 w 1238250"/>
                <a:gd name="connsiteY3" fmla="*/ 80296 h 1514475"/>
                <a:gd name="connsiteX4" fmla="*/ 900706 w 1238250"/>
                <a:gd name="connsiteY4" fmla="*/ 80296 h 1514475"/>
                <a:gd name="connsiteX5" fmla="*/ 941854 w 1238250"/>
                <a:gd name="connsiteY5" fmla="*/ 39148 h 1514475"/>
                <a:gd name="connsiteX6" fmla="*/ 941854 w 1238250"/>
                <a:gd name="connsiteY6" fmla="*/ 3619 h 1514475"/>
                <a:gd name="connsiteX7" fmla="*/ 938234 w 1238250"/>
                <a:gd name="connsiteY7" fmla="*/ 0 h 1514475"/>
                <a:gd name="connsiteX8" fmla="*/ 301583 w 1238250"/>
                <a:gd name="connsiteY8" fmla="*/ 0 h 1514475"/>
                <a:gd name="connsiteX9" fmla="*/ 297964 w 1238250"/>
                <a:gd name="connsiteY9" fmla="*/ 3619 h 1514475"/>
                <a:gd name="connsiteX10" fmla="*/ 297964 w 1238250"/>
                <a:gd name="connsiteY10" fmla="*/ 39148 h 1514475"/>
                <a:gd name="connsiteX11" fmla="*/ 339112 w 1238250"/>
                <a:gd name="connsiteY11" fmla="*/ 80296 h 1514475"/>
                <a:gd name="connsiteX12" fmla="*/ 364448 w 1238250"/>
                <a:gd name="connsiteY12" fmla="*/ 80296 h 1514475"/>
                <a:gd name="connsiteX13" fmla="*/ 364448 w 1238250"/>
                <a:gd name="connsiteY13" fmla="*/ 241649 h 1514475"/>
                <a:gd name="connsiteX14" fmla="*/ 318633 w 1238250"/>
                <a:gd name="connsiteY14" fmla="*/ 498634 h 1514475"/>
                <a:gd name="connsiteX15" fmla="*/ 8023 w 1238250"/>
                <a:gd name="connsiteY15" fmla="*/ 1342358 h 1514475"/>
                <a:gd name="connsiteX16" fmla="*/ 128419 w 1238250"/>
                <a:gd name="connsiteY16" fmla="*/ 1514951 h 1514475"/>
                <a:gd name="connsiteX17" fmla="*/ 1111399 w 1238250"/>
                <a:gd name="connsiteY17" fmla="*/ 1514951 h 1514475"/>
                <a:gd name="connsiteX18" fmla="*/ 1231795 w 1238250"/>
                <a:gd name="connsiteY18" fmla="*/ 1342358 h 1514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8250" h="1514475">
                  <a:moveTo>
                    <a:pt x="1231795" y="1342358"/>
                  </a:moveTo>
                  <a:lnTo>
                    <a:pt x="921185" y="498634"/>
                  </a:lnTo>
                  <a:cubicBezTo>
                    <a:pt x="890895" y="416338"/>
                    <a:pt x="875369" y="329279"/>
                    <a:pt x="875369" y="241649"/>
                  </a:cubicBezTo>
                  <a:lnTo>
                    <a:pt x="875369" y="80296"/>
                  </a:lnTo>
                  <a:lnTo>
                    <a:pt x="900706" y="80296"/>
                  </a:lnTo>
                  <a:cubicBezTo>
                    <a:pt x="923375" y="80296"/>
                    <a:pt x="941854" y="61913"/>
                    <a:pt x="941854" y="39148"/>
                  </a:cubicBezTo>
                  <a:lnTo>
                    <a:pt x="941854" y="3619"/>
                  </a:lnTo>
                  <a:cubicBezTo>
                    <a:pt x="941854" y="1619"/>
                    <a:pt x="940235" y="0"/>
                    <a:pt x="938234" y="0"/>
                  </a:cubicBezTo>
                  <a:lnTo>
                    <a:pt x="301583" y="0"/>
                  </a:lnTo>
                  <a:cubicBezTo>
                    <a:pt x="299583" y="0"/>
                    <a:pt x="297964" y="1619"/>
                    <a:pt x="297964" y="3619"/>
                  </a:cubicBezTo>
                  <a:lnTo>
                    <a:pt x="297964" y="39148"/>
                  </a:lnTo>
                  <a:cubicBezTo>
                    <a:pt x="297964" y="61817"/>
                    <a:pt x="316347" y="80296"/>
                    <a:pt x="339112" y="80296"/>
                  </a:cubicBezTo>
                  <a:lnTo>
                    <a:pt x="364448" y="80296"/>
                  </a:lnTo>
                  <a:lnTo>
                    <a:pt x="364448" y="241649"/>
                  </a:lnTo>
                  <a:cubicBezTo>
                    <a:pt x="364448" y="329374"/>
                    <a:pt x="348922" y="416338"/>
                    <a:pt x="318633" y="498634"/>
                  </a:cubicBezTo>
                  <a:lnTo>
                    <a:pt x="8023" y="1342358"/>
                  </a:lnTo>
                  <a:cubicBezTo>
                    <a:pt x="-22838" y="1426083"/>
                    <a:pt x="39169" y="1514951"/>
                    <a:pt x="128419" y="1514951"/>
                  </a:cubicBezTo>
                  <a:lnTo>
                    <a:pt x="1111399" y="1514951"/>
                  </a:lnTo>
                  <a:cubicBezTo>
                    <a:pt x="1200648" y="1515047"/>
                    <a:pt x="1262561" y="1426178"/>
                    <a:pt x="1231795" y="1342358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微软雅黑"/>
                <a:cs typeface="+mn-cs"/>
              </a:endParaRPr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BB773A98-8F6D-44FA-92BA-83B7666559B6}"/>
                </a:ext>
              </a:extLst>
            </p:cNvPr>
            <p:cNvSpPr/>
            <p:nvPr/>
          </p:nvSpPr>
          <p:spPr>
            <a:xfrm>
              <a:off x="3145386" y="5318518"/>
              <a:ext cx="1133473" cy="647705"/>
            </a:xfrm>
            <a:custGeom>
              <a:avLst/>
              <a:gdLst>
                <a:gd name="connsiteX0" fmla="*/ 4906 w 1133475"/>
                <a:gd name="connsiteY0" fmla="*/ 549973 h 647700"/>
                <a:gd name="connsiteX1" fmla="*/ 14146 w 1133475"/>
                <a:gd name="connsiteY1" fmla="*/ 621411 h 647700"/>
                <a:gd name="connsiteX2" fmla="*/ 77963 w 1133475"/>
                <a:gd name="connsiteY2" fmla="*/ 654748 h 647700"/>
                <a:gd name="connsiteX3" fmla="*/ 1060848 w 1133475"/>
                <a:gd name="connsiteY3" fmla="*/ 654748 h 647700"/>
                <a:gd name="connsiteX4" fmla="*/ 1124665 w 1133475"/>
                <a:gd name="connsiteY4" fmla="*/ 621411 h 647700"/>
                <a:gd name="connsiteX5" fmla="*/ 1133904 w 1133475"/>
                <a:gd name="connsiteY5" fmla="*/ 549973 h 647700"/>
                <a:gd name="connsiteX6" fmla="*/ 931498 w 1133475"/>
                <a:gd name="connsiteY6" fmla="*/ 0 h 647700"/>
                <a:gd name="connsiteX7" fmla="*/ 207408 w 1133475"/>
                <a:gd name="connsiteY7" fmla="*/ 0 h 647700"/>
                <a:gd name="connsiteX8" fmla="*/ 4906 w 1133475"/>
                <a:gd name="connsiteY8" fmla="*/ 549973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33475" h="647700">
                  <a:moveTo>
                    <a:pt x="4906" y="549973"/>
                  </a:moveTo>
                  <a:cubicBezTo>
                    <a:pt x="-4047" y="574167"/>
                    <a:pt x="-618" y="600266"/>
                    <a:pt x="14146" y="621411"/>
                  </a:cubicBezTo>
                  <a:cubicBezTo>
                    <a:pt x="28909" y="642556"/>
                    <a:pt x="52150" y="654748"/>
                    <a:pt x="77963" y="654748"/>
                  </a:cubicBezTo>
                  <a:lnTo>
                    <a:pt x="1060848" y="654748"/>
                  </a:lnTo>
                  <a:cubicBezTo>
                    <a:pt x="1086660" y="654748"/>
                    <a:pt x="1109902" y="642556"/>
                    <a:pt x="1124665" y="621411"/>
                  </a:cubicBezTo>
                  <a:cubicBezTo>
                    <a:pt x="1139429" y="600266"/>
                    <a:pt x="1142763" y="574167"/>
                    <a:pt x="1133904" y="549973"/>
                  </a:cubicBezTo>
                  <a:lnTo>
                    <a:pt x="931498" y="0"/>
                  </a:lnTo>
                  <a:lnTo>
                    <a:pt x="207408" y="0"/>
                  </a:lnTo>
                  <a:lnTo>
                    <a:pt x="4906" y="549973"/>
                  </a:lnTo>
                  <a:close/>
                </a:path>
              </a:pathLst>
            </a:custGeom>
            <a:solidFill>
              <a:srgbClr val="DBD75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微软雅黑"/>
                <a:cs typeface="+mn-cs"/>
              </a:endParaRPr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39FC2AF5-8D19-4EFD-8161-9F0AA6172486}"/>
                </a:ext>
              </a:extLst>
            </p:cNvPr>
            <p:cNvSpPr/>
            <p:nvPr/>
          </p:nvSpPr>
          <p:spPr>
            <a:xfrm>
              <a:off x="5456387" y="3533040"/>
              <a:ext cx="2266946" cy="2047891"/>
            </a:xfrm>
            <a:custGeom>
              <a:avLst/>
              <a:gdLst>
                <a:gd name="connsiteX0" fmla="*/ 1850517 w 2266950"/>
                <a:gd name="connsiteY0" fmla="*/ 2049590 h 2047875"/>
                <a:gd name="connsiteX1" fmla="*/ 1767269 w 2266950"/>
                <a:gd name="connsiteY1" fmla="*/ 2049590 h 2047875"/>
                <a:gd name="connsiteX2" fmla="*/ 2004346 w 2266950"/>
                <a:gd name="connsiteY2" fmla="*/ 1875568 h 2047875"/>
                <a:gd name="connsiteX3" fmla="*/ 2183701 w 2266950"/>
                <a:gd name="connsiteY3" fmla="*/ 1780794 h 2047875"/>
                <a:gd name="connsiteX4" fmla="*/ 2004346 w 2266950"/>
                <a:gd name="connsiteY4" fmla="*/ 1686020 h 2047875"/>
                <a:gd name="connsiteX5" fmla="*/ 1767269 w 2266950"/>
                <a:gd name="connsiteY5" fmla="*/ 1511999 h 2047875"/>
                <a:gd name="connsiteX6" fmla="*/ 2004346 w 2266950"/>
                <a:gd name="connsiteY6" fmla="*/ 1337977 h 2047875"/>
                <a:gd name="connsiteX7" fmla="*/ 2183701 w 2266950"/>
                <a:gd name="connsiteY7" fmla="*/ 1243203 h 2047875"/>
                <a:gd name="connsiteX8" fmla="*/ 2004346 w 2266950"/>
                <a:gd name="connsiteY8" fmla="*/ 1148429 h 2047875"/>
                <a:gd name="connsiteX9" fmla="*/ 1767269 w 2266950"/>
                <a:gd name="connsiteY9" fmla="*/ 974312 h 2047875"/>
                <a:gd name="connsiteX10" fmla="*/ 2004346 w 2266950"/>
                <a:gd name="connsiteY10" fmla="*/ 800291 h 2047875"/>
                <a:gd name="connsiteX11" fmla="*/ 2183701 w 2266950"/>
                <a:gd name="connsiteY11" fmla="*/ 705517 h 2047875"/>
                <a:gd name="connsiteX12" fmla="*/ 2004346 w 2266950"/>
                <a:gd name="connsiteY12" fmla="*/ 610648 h 2047875"/>
                <a:gd name="connsiteX13" fmla="*/ 1767269 w 2266950"/>
                <a:gd name="connsiteY13" fmla="*/ 436531 h 2047875"/>
                <a:gd name="connsiteX14" fmla="*/ 2004346 w 2266950"/>
                <a:gd name="connsiteY14" fmla="*/ 262414 h 2047875"/>
                <a:gd name="connsiteX15" fmla="*/ 2183701 w 2266950"/>
                <a:gd name="connsiteY15" fmla="*/ 167545 h 2047875"/>
                <a:gd name="connsiteX16" fmla="*/ 2032826 w 2266950"/>
                <a:gd name="connsiteY16" fmla="*/ 83344 h 2047875"/>
                <a:gd name="connsiteX17" fmla="*/ 453104 w 2266950"/>
                <a:gd name="connsiteY17" fmla="*/ 83344 h 2047875"/>
                <a:gd name="connsiteX18" fmla="*/ 83248 w 2266950"/>
                <a:gd name="connsiteY18" fmla="*/ 453200 h 2047875"/>
                <a:gd name="connsiteX19" fmla="*/ 83248 w 2266950"/>
                <a:gd name="connsiteY19" fmla="*/ 733711 h 2047875"/>
                <a:gd name="connsiteX20" fmla="*/ 0 w 2266950"/>
                <a:gd name="connsiteY20" fmla="*/ 733711 h 2047875"/>
                <a:gd name="connsiteX21" fmla="*/ 0 w 2266950"/>
                <a:gd name="connsiteY21" fmla="*/ 453200 h 2047875"/>
                <a:gd name="connsiteX22" fmla="*/ 453199 w 2266950"/>
                <a:gd name="connsiteY22" fmla="*/ 0 h 2047875"/>
                <a:gd name="connsiteX23" fmla="*/ 2032921 w 2266950"/>
                <a:gd name="connsiteY23" fmla="*/ 0 h 2047875"/>
                <a:gd name="connsiteX24" fmla="*/ 2267045 w 2266950"/>
                <a:gd name="connsiteY24" fmla="*/ 167450 h 2047875"/>
                <a:gd name="connsiteX25" fmla="*/ 2029968 w 2266950"/>
                <a:gd name="connsiteY25" fmla="*/ 341567 h 2047875"/>
                <a:gd name="connsiteX26" fmla="*/ 1850612 w 2266950"/>
                <a:gd name="connsiteY26" fmla="*/ 436436 h 2047875"/>
                <a:gd name="connsiteX27" fmla="*/ 2029968 w 2266950"/>
                <a:gd name="connsiteY27" fmla="*/ 531305 h 2047875"/>
                <a:gd name="connsiteX28" fmla="*/ 2267045 w 2266950"/>
                <a:gd name="connsiteY28" fmla="*/ 705422 h 2047875"/>
                <a:gd name="connsiteX29" fmla="*/ 2029968 w 2266950"/>
                <a:gd name="connsiteY29" fmla="*/ 879443 h 2047875"/>
                <a:gd name="connsiteX30" fmla="*/ 1850612 w 2266950"/>
                <a:gd name="connsiteY30" fmla="*/ 974217 h 2047875"/>
                <a:gd name="connsiteX31" fmla="*/ 2029968 w 2266950"/>
                <a:gd name="connsiteY31" fmla="*/ 1069086 h 2047875"/>
                <a:gd name="connsiteX32" fmla="*/ 2267045 w 2266950"/>
                <a:gd name="connsiteY32" fmla="*/ 1243203 h 2047875"/>
                <a:gd name="connsiteX33" fmla="*/ 2029968 w 2266950"/>
                <a:gd name="connsiteY33" fmla="*/ 1417225 h 2047875"/>
                <a:gd name="connsiteX34" fmla="*/ 1850612 w 2266950"/>
                <a:gd name="connsiteY34" fmla="*/ 1511999 h 2047875"/>
                <a:gd name="connsiteX35" fmla="*/ 2029968 w 2266950"/>
                <a:gd name="connsiteY35" fmla="*/ 1606772 h 2047875"/>
                <a:gd name="connsiteX36" fmla="*/ 2267045 w 2266950"/>
                <a:gd name="connsiteY36" fmla="*/ 1780794 h 2047875"/>
                <a:gd name="connsiteX37" fmla="*/ 2029968 w 2266950"/>
                <a:gd name="connsiteY37" fmla="*/ 1954816 h 2047875"/>
                <a:gd name="connsiteX38" fmla="*/ 1850517 w 2266950"/>
                <a:gd name="connsiteY38" fmla="*/ 2049590 h 2047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266950" h="2047875">
                  <a:moveTo>
                    <a:pt x="1850517" y="2049590"/>
                  </a:moveTo>
                  <a:lnTo>
                    <a:pt x="1767269" y="2049590"/>
                  </a:lnTo>
                  <a:cubicBezTo>
                    <a:pt x="1767269" y="1952053"/>
                    <a:pt x="1887760" y="1913192"/>
                    <a:pt x="2004346" y="1875568"/>
                  </a:cubicBezTo>
                  <a:cubicBezTo>
                    <a:pt x="2080069" y="1851184"/>
                    <a:pt x="2183701" y="1817656"/>
                    <a:pt x="2183701" y="1780794"/>
                  </a:cubicBezTo>
                  <a:cubicBezTo>
                    <a:pt x="2183701" y="1743932"/>
                    <a:pt x="2080069" y="1710500"/>
                    <a:pt x="2004346" y="1686020"/>
                  </a:cubicBezTo>
                  <a:cubicBezTo>
                    <a:pt x="1887760" y="1648397"/>
                    <a:pt x="1767269" y="1609535"/>
                    <a:pt x="1767269" y="1511999"/>
                  </a:cubicBezTo>
                  <a:cubicBezTo>
                    <a:pt x="1767269" y="1414463"/>
                    <a:pt x="1887760" y="1375601"/>
                    <a:pt x="2004346" y="1337977"/>
                  </a:cubicBezTo>
                  <a:cubicBezTo>
                    <a:pt x="2080069" y="1313593"/>
                    <a:pt x="2183701" y="1280065"/>
                    <a:pt x="2183701" y="1243203"/>
                  </a:cubicBezTo>
                  <a:cubicBezTo>
                    <a:pt x="2183701" y="1206341"/>
                    <a:pt x="2080069" y="1172813"/>
                    <a:pt x="2004346" y="1148429"/>
                  </a:cubicBezTo>
                  <a:cubicBezTo>
                    <a:pt x="1887760" y="1110806"/>
                    <a:pt x="1767269" y="1071848"/>
                    <a:pt x="1767269" y="974312"/>
                  </a:cubicBezTo>
                  <a:cubicBezTo>
                    <a:pt x="1767269" y="876776"/>
                    <a:pt x="1887760" y="837914"/>
                    <a:pt x="2004346" y="800291"/>
                  </a:cubicBezTo>
                  <a:cubicBezTo>
                    <a:pt x="2080069" y="775907"/>
                    <a:pt x="2183701" y="742379"/>
                    <a:pt x="2183701" y="705517"/>
                  </a:cubicBezTo>
                  <a:cubicBezTo>
                    <a:pt x="2183701" y="668560"/>
                    <a:pt x="2080069" y="635127"/>
                    <a:pt x="2004346" y="610648"/>
                  </a:cubicBezTo>
                  <a:cubicBezTo>
                    <a:pt x="1887855" y="573024"/>
                    <a:pt x="1767269" y="534067"/>
                    <a:pt x="1767269" y="436531"/>
                  </a:cubicBezTo>
                  <a:cubicBezTo>
                    <a:pt x="1767269" y="338995"/>
                    <a:pt x="1887760" y="300038"/>
                    <a:pt x="2004346" y="262414"/>
                  </a:cubicBezTo>
                  <a:cubicBezTo>
                    <a:pt x="2080069" y="237934"/>
                    <a:pt x="2183701" y="204502"/>
                    <a:pt x="2183701" y="167545"/>
                  </a:cubicBezTo>
                  <a:cubicBezTo>
                    <a:pt x="2183701" y="89440"/>
                    <a:pt x="2068258" y="83344"/>
                    <a:pt x="2032826" y="83344"/>
                  </a:cubicBezTo>
                  <a:lnTo>
                    <a:pt x="453104" y="83344"/>
                  </a:lnTo>
                  <a:cubicBezTo>
                    <a:pt x="249174" y="83344"/>
                    <a:pt x="83248" y="249269"/>
                    <a:pt x="83248" y="453200"/>
                  </a:cubicBezTo>
                  <a:lnTo>
                    <a:pt x="83248" y="733711"/>
                  </a:lnTo>
                  <a:lnTo>
                    <a:pt x="0" y="733711"/>
                  </a:lnTo>
                  <a:lnTo>
                    <a:pt x="0" y="453200"/>
                  </a:lnTo>
                  <a:cubicBezTo>
                    <a:pt x="0" y="203359"/>
                    <a:pt x="203263" y="0"/>
                    <a:pt x="453199" y="0"/>
                  </a:cubicBezTo>
                  <a:lnTo>
                    <a:pt x="2032921" y="0"/>
                  </a:lnTo>
                  <a:cubicBezTo>
                    <a:pt x="2177320" y="0"/>
                    <a:pt x="2267045" y="64199"/>
                    <a:pt x="2267045" y="167450"/>
                  </a:cubicBezTo>
                  <a:cubicBezTo>
                    <a:pt x="2267045" y="264986"/>
                    <a:pt x="2146554" y="303943"/>
                    <a:pt x="2029968" y="341567"/>
                  </a:cubicBezTo>
                  <a:cubicBezTo>
                    <a:pt x="1954244" y="366046"/>
                    <a:pt x="1850612" y="399479"/>
                    <a:pt x="1850612" y="436436"/>
                  </a:cubicBezTo>
                  <a:cubicBezTo>
                    <a:pt x="1850612" y="473392"/>
                    <a:pt x="1954244" y="506825"/>
                    <a:pt x="2029968" y="531305"/>
                  </a:cubicBezTo>
                  <a:cubicBezTo>
                    <a:pt x="2146554" y="568928"/>
                    <a:pt x="2267045" y="607886"/>
                    <a:pt x="2267045" y="705422"/>
                  </a:cubicBezTo>
                  <a:cubicBezTo>
                    <a:pt x="2267045" y="802958"/>
                    <a:pt x="2146554" y="841820"/>
                    <a:pt x="2029968" y="879443"/>
                  </a:cubicBezTo>
                  <a:cubicBezTo>
                    <a:pt x="1954244" y="903827"/>
                    <a:pt x="1850612" y="937355"/>
                    <a:pt x="1850612" y="974217"/>
                  </a:cubicBezTo>
                  <a:cubicBezTo>
                    <a:pt x="1850612" y="1011174"/>
                    <a:pt x="1954244" y="1044607"/>
                    <a:pt x="2029968" y="1069086"/>
                  </a:cubicBezTo>
                  <a:cubicBezTo>
                    <a:pt x="2146459" y="1106710"/>
                    <a:pt x="2267045" y="1145667"/>
                    <a:pt x="2267045" y="1243203"/>
                  </a:cubicBezTo>
                  <a:cubicBezTo>
                    <a:pt x="2267045" y="1340739"/>
                    <a:pt x="2146554" y="1379601"/>
                    <a:pt x="2029968" y="1417225"/>
                  </a:cubicBezTo>
                  <a:cubicBezTo>
                    <a:pt x="1954244" y="1441609"/>
                    <a:pt x="1850612" y="1475137"/>
                    <a:pt x="1850612" y="1511999"/>
                  </a:cubicBezTo>
                  <a:cubicBezTo>
                    <a:pt x="1850612" y="1548860"/>
                    <a:pt x="1954244" y="1582293"/>
                    <a:pt x="2029968" y="1606772"/>
                  </a:cubicBezTo>
                  <a:cubicBezTo>
                    <a:pt x="2146554" y="1644396"/>
                    <a:pt x="2267045" y="1683258"/>
                    <a:pt x="2267045" y="1780794"/>
                  </a:cubicBezTo>
                  <a:cubicBezTo>
                    <a:pt x="2267045" y="1878330"/>
                    <a:pt x="2146554" y="1917192"/>
                    <a:pt x="2029968" y="1954816"/>
                  </a:cubicBezTo>
                  <a:cubicBezTo>
                    <a:pt x="1954149" y="1979295"/>
                    <a:pt x="1850517" y="2012728"/>
                    <a:pt x="1850517" y="2049590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微软雅黑"/>
                <a:cs typeface="+mn-cs"/>
              </a:endParaRPr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A7EE46CD-D70A-43E9-9B9E-9336F6E29F3B}"/>
                </a:ext>
              </a:extLst>
            </p:cNvPr>
            <p:cNvSpPr/>
            <p:nvPr/>
          </p:nvSpPr>
          <p:spPr>
            <a:xfrm>
              <a:off x="5487533" y="3564284"/>
              <a:ext cx="2200272" cy="1981217"/>
            </a:xfrm>
            <a:custGeom>
              <a:avLst/>
              <a:gdLst>
                <a:gd name="connsiteX0" fmla="*/ 1774317 w 2200275"/>
                <a:gd name="connsiteY0" fmla="*/ 1987106 h 1981200"/>
                <a:gd name="connsiteX1" fmla="*/ 1982724 w 2200275"/>
                <a:gd name="connsiteY1" fmla="*/ 1874044 h 1981200"/>
                <a:gd name="connsiteX2" fmla="*/ 2183702 w 2200275"/>
                <a:gd name="connsiteY2" fmla="*/ 1749552 h 1981200"/>
                <a:gd name="connsiteX3" fmla="*/ 1982724 w 2200275"/>
                <a:gd name="connsiteY3" fmla="*/ 1625060 h 1981200"/>
                <a:gd name="connsiteX4" fmla="*/ 1767364 w 2200275"/>
                <a:gd name="connsiteY4" fmla="*/ 1480757 h 1981200"/>
                <a:gd name="connsiteX5" fmla="*/ 1982819 w 2200275"/>
                <a:gd name="connsiteY5" fmla="*/ 1336453 h 1981200"/>
                <a:gd name="connsiteX6" fmla="*/ 2183797 w 2200275"/>
                <a:gd name="connsiteY6" fmla="*/ 1211961 h 1981200"/>
                <a:gd name="connsiteX7" fmla="*/ 1982819 w 2200275"/>
                <a:gd name="connsiteY7" fmla="*/ 1087469 h 1981200"/>
                <a:gd name="connsiteX8" fmla="*/ 1767364 w 2200275"/>
                <a:gd name="connsiteY8" fmla="*/ 943070 h 1981200"/>
                <a:gd name="connsiteX9" fmla="*/ 1982819 w 2200275"/>
                <a:gd name="connsiteY9" fmla="*/ 798767 h 1981200"/>
                <a:gd name="connsiteX10" fmla="*/ 2183797 w 2200275"/>
                <a:gd name="connsiteY10" fmla="*/ 674275 h 1981200"/>
                <a:gd name="connsiteX11" fmla="*/ 1982819 w 2200275"/>
                <a:gd name="connsiteY11" fmla="*/ 549688 h 1981200"/>
                <a:gd name="connsiteX12" fmla="*/ 1767364 w 2200275"/>
                <a:gd name="connsiteY12" fmla="*/ 405289 h 1981200"/>
                <a:gd name="connsiteX13" fmla="*/ 1982724 w 2200275"/>
                <a:gd name="connsiteY13" fmla="*/ 260890 h 1981200"/>
                <a:gd name="connsiteX14" fmla="*/ 2183797 w 2200275"/>
                <a:gd name="connsiteY14" fmla="*/ 136303 h 1981200"/>
                <a:gd name="connsiteX15" fmla="*/ 2001679 w 2200275"/>
                <a:gd name="connsiteY15" fmla="*/ 20860 h 1981200"/>
                <a:gd name="connsiteX16" fmla="*/ 421957 w 2200275"/>
                <a:gd name="connsiteY16" fmla="*/ 20860 h 1981200"/>
                <a:gd name="connsiteX17" fmla="*/ 20860 w 2200275"/>
                <a:gd name="connsiteY17" fmla="*/ 421958 h 1981200"/>
                <a:gd name="connsiteX18" fmla="*/ 20860 w 2200275"/>
                <a:gd name="connsiteY18" fmla="*/ 671227 h 1981200"/>
                <a:gd name="connsiteX19" fmla="*/ 0 w 2200275"/>
                <a:gd name="connsiteY19" fmla="*/ 671227 h 1981200"/>
                <a:gd name="connsiteX20" fmla="*/ 0 w 2200275"/>
                <a:gd name="connsiteY20" fmla="*/ 421958 h 1981200"/>
                <a:gd name="connsiteX21" fmla="*/ 421957 w 2200275"/>
                <a:gd name="connsiteY21" fmla="*/ 0 h 1981200"/>
                <a:gd name="connsiteX22" fmla="*/ 2001679 w 2200275"/>
                <a:gd name="connsiteY22" fmla="*/ 0 h 1981200"/>
                <a:gd name="connsiteX23" fmla="*/ 2204561 w 2200275"/>
                <a:gd name="connsiteY23" fmla="*/ 136208 h 1981200"/>
                <a:gd name="connsiteX24" fmla="*/ 1989201 w 2200275"/>
                <a:gd name="connsiteY24" fmla="*/ 280607 h 1981200"/>
                <a:gd name="connsiteX25" fmla="*/ 1788128 w 2200275"/>
                <a:gd name="connsiteY25" fmla="*/ 405194 h 1981200"/>
                <a:gd name="connsiteX26" fmla="*/ 1989106 w 2200275"/>
                <a:gd name="connsiteY26" fmla="*/ 529781 h 1981200"/>
                <a:gd name="connsiteX27" fmla="*/ 2204561 w 2200275"/>
                <a:gd name="connsiteY27" fmla="*/ 674180 h 1981200"/>
                <a:gd name="connsiteX28" fmla="*/ 1989106 w 2200275"/>
                <a:gd name="connsiteY28" fmla="*/ 818483 h 1981200"/>
                <a:gd name="connsiteX29" fmla="*/ 1788128 w 2200275"/>
                <a:gd name="connsiteY29" fmla="*/ 942975 h 1981200"/>
                <a:gd name="connsiteX30" fmla="*/ 1989106 w 2200275"/>
                <a:gd name="connsiteY30" fmla="*/ 1067467 h 1981200"/>
                <a:gd name="connsiteX31" fmla="*/ 2204561 w 2200275"/>
                <a:gd name="connsiteY31" fmla="*/ 1211866 h 1981200"/>
                <a:gd name="connsiteX32" fmla="*/ 1989106 w 2200275"/>
                <a:gd name="connsiteY32" fmla="*/ 1356169 h 1981200"/>
                <a:gd name="connsiteX33" fmla="*/ 1788128 w 2200275"/>
                <a:gd name="connsiteY33" fmla="*/ 1480661 h 1981200"/>
                <a:gd name="connsiteX34" fmla="*/ 1989106 w 2200275"/>
                <a:gd name="connsiteY34" fmla="*/ 1605153 h 1981200"/>
                <a:gd name="connsiteX35" fmla="*/ 2204466 w 2200275"/>
                <a:gd name="connsiteY35" fmla="*/ 1749457 h 1981200"/>
                <a:gd name="connsiteX36" fmla="*/ 1989011 w 2200275"/>
                <a:gd name="connsiteY36" fmla="*/ 1893760 h 1981200"/>
                <a:gd name="connsiteX37" fmla="*/ 1797939 w 2200275"/>
                <a:gd name="connsiteY37" fmla="*/ 1987010 h 1981200"/>
                <a:gd name="connsiteX38" fmla="*/ 1774317 w 2200275"/>
                <a:gd name="connsiteY38" fmla="*/ 1987010 h 1981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200275" h="1981200">
                  <a:moveTo>
                    <a:pt x="1774317" y="1987106"/>
                  </a:moveTo>
                  <a:cubicBezTo>
                    <a:pt x="1799940" y="1933004"/>
                    <a:pt x="1892808" y="1903095"/>
                    <a:pt x="1982724" y="1874044"/>
                  </a:cubicBezTo>
                  <a:cubicBezTo>
                    <a:pt x="2104168" y="1834896"/>
                    <a:pt x="2183702" y="1804988"/>
                    <a:pt x="2183702" y="1749552"/>
                  </a:cubicBezTo>
                  <a:cubicBezTo>
                    <a:pt x="2183702" y="1694117"/>
                    <a:pt x="2104073" y="1664303"/>
                    <a:pt x="1982724" y="1625060"/>
                  </a:cubicBezTo>
                  <a:cubicBezTo>
                    <a:pt x="1876806" y="1590866"/>
                    <a:pt x="1767364" y="1555528"/>
                    <a:pt x="1767364" y="1480757"/>
                  </a:cubicBezTo>
                  <a:cubicBezTo>
                    <a:pt x="1767364" y="1405985"/>
                    <a:pt x="1876901" y="1370648"/>
                    <a:pt x="1982819" y="1336453"/>
                  </a:cubicBezTo>
                  <a:cubicBezTo>
                    <a:pt x="2104263" y="1297305"/>
                    <a:pt x="2183797" y="1267397"/>
                    <a:pt x="2183797" y="1211961"/>
                  </a:cubicBezTo>
                  <a:cubicBezTo>
                    <a:pt x="2183797" y="1156430"/>
                    <a:pt x="2104168" y="1126617"/>
                    <a:pt x="1982819" y="1087469"/>
                  </a:cubicBezTo>
                  <a:cubicBezTo>
                    <a:pt x="1876901" y="1053275"/>
                    <a:pt x="1767364" y="1017937"/>
                    <a:pt x="1767364" y="943070"/>
                  </a:cubicBezTo>
                  <a:cubicBezTo>
                    <a:pt x="1767364" y="868299"/>
                    <a:pt x="1876901" y="832961"/>
                    <a:pt x="1982819" y="798767"/>
                  </a:cubicBezTo>
                  <a:cubicBezTo>
                    <a:pt x="2104263" y="759619"/>
                    <a:pt x="2183797" y="729710"/>
                    <a:pt x="2183797" y="674275"/>
                  </a:cubicBezTo>
                  <a:cubicBezTo>
                    <a:pt x="2183797" y="618744"/>
                    <a:pt x="2104263" y="588931"/>
                    <a:pt x="1982819" y="549688"/>
                  </a:cubicBezTo>
                  <a:cubicBezTo>
                    <a:pt x="1876901" y="515493"/>
                    <a:pt x="1767364" y="480060"/>
                    <a:pt x="1767364" y="405289"/>
                  </a:cubicBezTo>
                  <a:cubicBezTo>
                    <a:pt x="1767364" y="330422"/>
                    <a:pt x="1876901" y="295084"/>
                    <a:pt x="1982724" y="260890"/>
                  </a:cubicBezTo>
                  <a:cubicBezTo>
                    <a:pt x="2104168" y="221647"/>
                    <a:pt x="2183797" y="191834"/>
                    <a:pt x="2183797" y="136303"/>
                  </a:cubicBezTo>
                  <a:cubicBezTo>
                    <a:pt x="2183797" y="64008"/>
                    <a:pt x="2115693" y="20860"/>
                    <a:pt x="2001679" y="20860"/>
                  </a:cubicBezTo>
                  <a:lnTo>
                    <a:pt x="421957" y="20860"/>
                  </a:lnTo>
                  <a:cubicBezTo>
                    <a:pt x="200787" y="20860"/>
                    <a:pt x="20860" y="200787"/>
                    <a:pt x="20860" y="421958"/>
                  </a:cubicBezTo>
                  <a:lnTo>
                    <a:pt x="20860" y="671227"/>
                  </a:lnTo>
                  <a:lnTo>
                    <a:pt x="0" y="671227"/>
                  </a:lnTo>
                  <a:lnTo>
                    <a:pt x="0" y="421958"/>
                  </a:lnTo>
                  <a:cubicBezTo>
                    <a:pt x="0" y="189262"/>
                    <a:pt x="189262" y="0"/>
                    <a:pt x="421957" y="0"/>
                  </a:cubicBezTo>
                  <a:lnTo>
                    <a:pt x="2001679" y="0"/>
                  </a:lnTo>
                  <a:cubicBezTo>
                    <a:pt x="2126837" y="0"/>
                    <a:pt x="2204561" y="52197"/>
                    <a:pt x="2204561" y="136208"/>
                  </a:cubicBezTo>
                  <a:cubicBezTo>
                    <a:pt x="2204561" y="210979"/>
                    <a:pt x="2095119" y="246412"/>
                    <a:pt x="1989201" y="280607"/>
                  </a:cubicBezTo>
                  <a:cubicBezTo>
                    <a:pt x="1867758" y="319850"/>
                    <a:pt x="1788128" y="349758"/>
                    <a:pt x="1788128" y="405194"/>
                  </a:cubicBezTo>
                  <a:cubicBezTo>
                    <a:pt x="1788128" y="460629"/>
                    <a:pt x="1867758" y="490538"/>
                    <a:pt x="1989106" y="529781"/>
                  </a:cubicBezTo>
                  <a:cubicBezTo>
                    <a:pt x="2095024" y="563975"/>
                    <a:pt x="2204561" y="599408"/>
                    <a:pt x="2204561" y="674180"/>
                  </a:cubicBezTo>
                  <a:cubicBezTo>
                    <a:pt x="2204561" y="748951"/>
                    <a:pt x="2095024" y="784288"/>
                    <a:pt x="1989106" y="818483"/>
                  </a:cubicBezTo>
                  <a:cubicBezTo>
                    <a:pt x="1867662" y="857631"/>
                    <a:pt x="1788128" y="887540"/>
                    <a:pt x="1788128" y="942975"/>
                  </a:cubicBezTo>
                  <a:cubicBezTo>
                    <a:pt x="1788128" y="998506"/>
                    <a:pt x="1867758" y="1028319"/>
                    <a:pt x="1989106" y="1067467"/>
                  </a:cubicBezTo>
                  <a:cubicBezTo>
                    <a:pt x="2095024" y="1101661"/>
                    <a:pt x="2204561" y="1136999"/>
                    <a:pt x="2204561" y="1211866"/>
                  </a:cubicBezTo>
                  <a:cubicBezTo>
                    <a:pt x="2204561" y="1286637"/>
                    <a:pt x="2095024" y="1321975"/>
                    <a:pt x="1989106" y="1356169"/>
                  </a:cubicBezTo>
                  <a:cubicBezTo>
                    <a:pt x="1867662" y="1395317"/>
                    <a:pt x="1788128" y="1425226"/>
                    <a:pt x="1788128" y="1480661"/>
                  </a:cubicBezTo>
                  <a:cubicBezTo>
                    <a:pt x="1788128" y="1536097"/>
                    <a:pt x="1867758" y="1566005"/>
                    <a:pt x="1989106" y="1605153"/>
                  </a:cubicBezTo>
                  <a:cubicBezTo>
                    <a:pt x="2095024" y="1639348"/>
                    <a:pt x="2204466" y="1674685"/>
                    <a:pt x="2204466" y="1749457"/>
                  </a:cubicBezTo>
                  <a:cubicBezTo>
                    <a:pt x="2204466" y="1824228"/>
                    <a:pt x="2094929" y="1859566"/>
                    <a:pt x="1989011" y="1893760"/>
                  </a:cubicBezTo>
                  <a:cubicBezTo>
                    <a:pt x="1893570" y="1924526"/>
                    <a:pt x="1823181" y="1949672"/>
                    <a:pt x="1797939" y="1987010"/>
                  </a:cubicBezTo>
                  <a:lnTo>
                    <a:pt x="1774317" y="1987010"/>
                  </a:lnTo>
                  <a:close/>
                </a:path>
              </a:pathLst>
            </a:custGeom>
            <a:solidFill>
              <a:srgbClr val="08B68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微软雅黑"/>
                <a:cs typeface="+mn-cs"/>
              </a:endParaRPr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59167C0E-F947-4E83-B748-F8201BE2D0B0}"/>
                </a:ext>
              </a:extLst>
            </p:cNvPr>
            <p:cNvSpPr/>
            <p:nvPr/>
          </p:nvSpPr>
          <p:spPr>
            <a:xfrm>
              <a:off x="4954839" y="4213228"/>
              <a:ext cx="904873" cy="838207"/>
            </a:xfrm>
            <a:custGeom>
              <a:avLst/>
              <a:gdLst>
                <a:gd name="connsiteX0" fmla="*/ 845305 w 904875"/>
                <a:gd name="connsiteY0" fmla="*/ 842772 h 838200"/>
                <a:gd name="connsiteX1" fmla="*/ 135407 w 904875"/>
                <a:gd name="connsiteY1" fmla="*/ 842772 h 838200"/>
                <a:gd name="connsiteX2" fmla="*/ 69018 w 904875"/>
                <a:gd name="connsiteY2" fmla="*/ 776383 h 838200"/>
                <a:gd name="connsiteX3" fmla="*/ 69018 w 904875"/>
                <a:gd name="connsiteY3" fmla="*/ 129064 h 838200"/>
                <a:gd name="connsiteX4" fmla="*/ 1581 w 904875"/>
                <a:gd name="connsiteY4" fmla="*/ 16669 h 838200"/>
                <a:gd name="connsiteX5" fmla="*/ 11011 w 904875"/>
                <a:gd name="connsiteY5" fmla="*/ 0 h 838200"/>
                <a:gd name="connsiteX6" fmla="*/ 911694 w 904875"/>
                <a:gd name="connsiteY6" fmla="*/ 0 h 838200"/>
                <a:gd name="connsiteX7" fmla="*/ 911694 w 904875"/>
                <a:gd name="connsiteY7" fmla="*/ 776287 h 838200"/>
                <a:gd name="connsiteX8" fmla="*/ 845305 w 904875"/>
                <a:gd name="connsiteY8" fmla="*/ 842772 h 838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04875" h="838200">
                  <a:moveTo>
                    <a:pt x="845305" y="842772"/>
                  </a:moveTo>
                  <a:lnTo>
                    <a:pt x="135407" y="842772"/>
                  </a:lnTo>
                  <a:cubicBezTo>
                    <a:pt x="98736" y="842772"/>
                    <a:pt x="69018" y="813054"/>
                    <a:pt x="69018" y="776383"/>
                  </a:cubicBezTo>
                  <a:lnTo>
                    <a:pt x="69018" y="129064"/>
                  </a:lnTo>
                  <a:lnTo>
                    <a:pt x="1581" y="16669"/>
                  </a:lnTo>
                  <a:cubicBezTo>
                    <a:pt x="-2801" y="9334"/>
                    <a:pt x="2438" y="0"/>
                    <a:pt x="11011" y="0"/>
                  </a:cubicBezTo>
                  <a:lnTo>
                    <a:pt x="911694" y="0"/>
                  </a:lnTo>
                  <a:lnTo>
                    <a:pt x="911694" y="776287"/>
                  </a:lnTo>
                  <a:cubicBezTo>
                    <a:pt x="911600" y="813054"/>
                    <a:pt x="881977" y="842772"/>
                    <a:pt x="845305" y="842772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微软雅黑"/>
                <a:cs typeface="+mn-cs"/>
              </a:endParaRPr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D1311D88-BC36-4A4D-9582-2DBA0297634C}"/>
                </a:ext>
              </a:extLst>
            </p:cNvPr>
            <p:cNvSpPr/>
            <p:nvPr/>
          </p:nvSpPr>
          <p:spPr>
            <a:xfrm>
              <a:off x="5044622" y="4621758"/>
              <a:ext cx="800099" cy="409579"/>
            </a:xfrm>
            <a:custGeom>
              <a:avLst/>
              <a:gdLst>
                <a:gd name="connsiteX0" fmla="*/ 0 w 800100"/>
                <a:gd name="connsiteY0" fmla="*/ 17907 h 409575"/>
                <a:gd name="connsiteX1" fmla="*/ 0 w 800100"/>
                <a:gd name="connsiteY1" fmla="*/ 367855 h 409575"/>
                <a:gd name="connsiteX2" fmla="*/ 45529 w 800100"/>
                <a:gd name="connsiteY2" fmla="*/ 413385 h 409575"/>
                <a:gd name="connsiteX3" fmla="*/ 755523 w 800100"/>
                <a:gd name="connsiteY3" fmla="*/ 413385 h 409575"/>
                <a:gd name="connsiteX4" fmla="*/ 801053 w 800100"/>
                <a:gd name="connsiteY4" fmla="*/ 367855 h 409575"/>
                <a:gd name="connsiteX5" fmla="*/ 801053 w 800100"/>
                <a:gd name="connsiteY5" fmla="*/ 0 h 409575"/>
                <a:gd name="connsiteX6" fmla="*/ 0 w 800100"/>
                <a:gd name="connsiteY6" fmla="*/ 17907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00100" h="409575">
                  <a:moveTo>
                    <a:pt x="0" y="17907"/>
                  </a:moveTo>
                  <a:lnTo>
                    <a:pt x="0" y="367855"/>
                  </a:lnTo>
                  <a:cubicBezTo>
                    <a:pt x="0" y="393002"/>
                    <a:pt x="20384" y="413385"/>
                    <a:pt x="45529" y="413385"/>
                  </a:cubicBezTo>
                  <a:lnTo>
                    <a:pt x="755523" y="413385"/>
                  </a:lnTo>
                  <a:cubicBezTo>
                    <a:pt x="780669" y="413385"/>
                    <a:pt x="801053" y="393002"/>
                    <a:pt x="801053" y="367855"/>
                  </a:cubicBezTo>
                  <a:lnTo>
                    <a:pt x="801053" y="0"/>
                  </a:lnTo>
                  <a:cubicBezTo>
                    <a:pt x="552069" y="83248"/>
                    <a:pt x="263843" y="-25908"/>
                    <a:pt x="0" y="17907"/>
                  </a:cubicBezTo>
                  <a:close/>
                </a:path>
              </a:pathLst>
            </a:custGeom>
            <a:solidFill>
              <a:srgbClr val="1DA9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微软雅黑"/>
                <a:cs typeface="+mn-cs"/>
              </a:endParaRPr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40C52770-5E89-4425-BA56-23BD70083065}"/>
                </a:ext>
              </a:extLst>
            </p:cNvPr>
            <p:cNvSpPr/>
            <p:nvPr/>
          </p:nvSpPr>
          <p:spPr>
            <a:xfrm>
              <a:off x="7235939" y="5314231"/>
              <a:ext cx="723899" cy="657231"/>
            </a:xfrm>
            <a:custGeom>
              <a:avLst/>
              <a:gdLst>
                <a:gd name="connsiteX0" fmla="*/ 47625 w 723900"/>
                <a:gd name="connsiteY0" fmla="*/ 663226 h 657225"/>
                <a:gd name="connsiteX1" fmla="*/ 676084 w 723900"/>
                <a:gd name="connsiteY1" fmla="*/ 663226 h 657225"/>
                <a:gd name="connsiteX2" fmla="*/ 723615 w 723900"/>
                <a:gd name="connsiteY2" fmla="*/ 615696 h 657225"/>
                <a:gd name="connsiteX3" fmla="*/ 723615 w 723900"/>
                <a:gd name="connsiteY3" fmla="*/ 110776 h 657225"/>
                <a:gd name="connsiteX4" fmla="*/ 724948 w 723900"/>
                <a:gd name="connsiteY4" fmla="*/ 16859 h 657225"/>
                <a:gd name="connsiteX5" fmla="*/ 708279 w 723900"/>
                <a:gd name="connsiteY5" fmla="*/ 0 h 657225"/>
                <a:gd name="connsiteX6" fmla="*/ 16669 w 723900"/>
                <a:gd name="connsiteY6" fmla="*/ 0 h 657225"/>
                <a:gd name="connsiteX7" fmla="*/ 0 w 723900"/>
                <a:gd name="connsiteY7" fmla="*/ 16669 h 657225"/>
                <a:gd name="connsiteX8" fmla="*/ 0 w 723900"/>
                <a:gd name="connsiteY8" fmla="*/ 615696 h 657225"/>
                <a:gd name="connsiteX9" fmla="*/ 47625 w 723900"/>
                <a:gd name="connsiteY9" fmla="*/ 663226 h 657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3900" h="657225">
                  <a:moveTo>
                    <a:pt x="47625" y="663226"/>
                  </a:moveTo>
                  <a:lnTo>
                    <a:pt x="676084" y="663226"/>
                  </a:lnTo>
                  <a:cubicBezTo>
                    <a:pt x="702373" y="663226"/>
                    <a:pt x="723615" y="641985"/>
                    <a:pt x="723615" y="615696"/>
                  </a:cubicBezTo>
                  <a:lnTo>
                    <a:pt x="723615" y="110776"/>
                  </a:lnTo>
                  <a:lnTo>
                    <a:pt x="724948" y="16859"/>
                  </a:lnTo>
                  <a:cubicBezTo>
                    <a:pt x="725043" y="7620"/>
                    <a:pt x="717614" y="0"/>
                    <a:pt x="708279" y="0"/>
                  </a:cubicBezTo>
                  <a:lnTo>
                    <a:pt x="16669" y="0"/>
                  </a:lnTo>
                  <a:cubicBezTo>
                    <a:pt x="7430" y="0"/>
                    <a:pt x="0" y="7429"/>
                    <a:pt x="0" y="16669"/>
                  </a:cubicBezTo>
                  <a:lnTo>
                    <a:pt x="0" y="615696"/>
                  </a:lnTo>
                  <a:cubicBezTo>
                    <a:pt x="95" y="641890"/>
                    <a:pt x="21336" y="663226"/>
                    <a:pt x="47625" y="663226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微软雅黑"/>
                <a:cs typeface="+mn-cs"/>
              </a:endParaRPr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D1927A34-F175-411D-8F05-350243204526}"/>
                </a:ext>
              </a:extLst>
            </p:cNvPr>
            <p:cNvSpPr/>
            <p:nvPr/>
          </p:nvSpPr>
          <p:spPr>
            <a:xfrm>
              <a:off x="7263372" y="5604555"/>
              <a:ext cx="666749" cy="342902"/>
            </a:xfrm>
            <a:custGeom>
              <a:avLst/>
              <a:gdLst>
                <a:gd name="connsiteX0" fmla="*/ 668846 w 666750"/>
                <a:gd name="connsiteY0" fmla="*/ 14954 h 342900"/>
                <a:gd name="connsiteX1" fmla="*/ 668846 w 666750"/>
                <a:gd name="connsiteY1" fmla="*/ 316325 h 342900"/>
                <a:gd name="connsiteX2" fmla="*/ 639985 w 666750"/>
                <a:gd name="connsiteY2" fmla="*/ 345186 h 342900"/>
                <a:gd name="connsiteX3" fmla="*/ 28861 w 666750"/>
                <a:gd name="connsiteY3" fmla="*/ 345186 h 342900"/>
                <a:gd name="connsiteX4" fmla="*/ 0 w 666750"/>
                <a:gd name="connsiteY4" fmla="*/ 316325 h 342900"/>
                <a:gd name="connsiteX5" fmla="*/ 0 w 666750"/>
                <a:gd name="connsiteY5" fmla="*/ 0 h 342900"/>
                <a:gd name="connsiteX6" fmla="*/ 668846 w 666750"/>
                <a:gd name="connsiteY6" fmla="*/ 14954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6750" h="342900">
                  <a:moveTo>
                    <a:pt x="668846" y="14954"/>
                  </a:moveTo>
                  <a:lnTo>
                    <a:pt x="668846" y="316325"/>
                  </a:lnTo>
                  <a:cubicBezTo>
                    <a:pt x="668846" y="332232"/>
                    <a:pt x="655891" y="345186"/>
                    <a:pt x="639985" y="345186"/>
                  </a:cubicBezTo>
                  <a:lnTo>
                    <a:pt x="28861" y="345186"/>
                  </a:lnTo>
                  <a:cubicBezTo>
                    <a:pt x="12954" y="345186"/>
                    <a:pt x="0" y="332232"/>
                    <a:pt x="0" y="316325"/>
                  </a:cubicBezTo>
                  <a:lnTo>
                    <a:pt x="0" y="0"/>
                  </a:lnTo>
                  <a:cubicBezTo>
                    <a:pt x="207931" y="69437"/>
                    <a:pt x="448533" y="-21622"/>
                    <a:pt x="668846" y="14954"/>
                  </a:cubicBezTo>
                  <a:close/>
                </a:path>
              </a:pathLst>
            </a:custGeom>
            <a:solidFill>
              <a:srgbClr val="08B68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微软雅黑"/>
                <a:cs typeface="+mn-cs"/>
              </a:endParaRPr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AEB3037E-5834-4D93-AF4A-52A5E13AC84A}"/>
                </a:ext>
              </a:extLst>
            </p:cNvPr>
            <p:cNvSpPr/>
            <p:nvPr/>
          </p:nvSpPr>
          <p:spPr>
            <a:xfrm>
              <a:off x="5165780" y="5912310"/>
              <a:ext cx="1142998" cy="66675"/>
            </a:xfrm>
            <a:custGeom>
              <a:avLst/>
              <a:gdLst>
                <a:gd name="connsiteX0" fmla="*/ 149162 w 1143000"/>
                <a:gd name="connsiteY0" fmla="*/ 0 h 66675"/>
                <a:gd name="connsiteX1" fmla="*/ 1114044 w 1143000"/>
                <a:gd name="connsiteY1" fmla="*/ 0 h 66675"/>
                <a:gd name="connsiteX2" fmla="*/ 1148429 w 1143000"/>
                <a:gd name="connsiteY2" fmla="*/ 34385 h 66675"/>
                <a:gd name="connsiteX3" fmla="*/ 1148429 w 1143000"/>
                <a:gd name="connsiteY3" fmla="*/ 73628 h 66675"/>
                <a:gd name="connsiteX4" fmla="*/ 0 w 1143000"/>
                <a:gd name="connsiteY4" fmla="*/ 73628 h 66675"/>
                <a:gd name="connsiteX5" fmla="*/ 2477 w 1143000"/>
                <a:gd name="connsiteY5" fmla="*/ 70580 h 66675"/>
                <a:gd name="connsiteX6" fmla="*/ 149162 w 1143000"/>
                <a:gd name="connsiteY6" fmla="*/ 0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3000" h="66675">
                  <a:moveTo>
                    <a:pt x="149162" y="0"/>
                  </a:moveTo>
                  <a:lnTo>
                    <a:pt x="1114044" y="0"/>
                  </a:lnTo>
                  <a:cubicBezTo>
                    <a:pt x="1132999" y="0"/>
                    <a:pt x="1148429" y="15335"/>
                    <a:pt x="1148429" y="34385"/>
                  </a:cubicBezTo>
                  <a:lnTo>
                    <a:pt x="1148429" y="73628"/>
                  </a:lnTo>
                  <a:lnTo>
                    <a:pt x="0" y="73628"/>
                  </a:lnTo>
                  <a:lnTo>
                    <a:pt x="2477" y="70580"/>
                  </a:lnTo>
                  <a:cubicBezTo>
                    <a:pt x="38100" y="26003"/>
                    <a:pt x="92107" y="0"/>
                    <a:pt x="149162" y="0"/>
                  </a:cubicBezTo>
                  <a:close/>
                </a:path>
              </a:pathLst>
            </a:custGeom>
            <a:solidFill>
              <a:srgbClr val="FFDB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微软雅黑"/>
                <a:cs typeface="+mn-cs"/>
              </a:endParaRPr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2AD41BD0-538F-4B9F-8CD5-6382CA53B551}"/>
                </a:ext>
              </a:extLst>
            </p:cNvPr>
            <p:cNvSpPr/>
            <p:nvPr/>
          </p:nvSpPr>
          <p:spPr>
            <a:xfrm>
              <a:off x="5957020" y="4437733"/>
              <a:ext cx="342899" cy="342902"/>
            </a:xfrm>
            <a:custGeom>
              <a:avLst/>
              <a:gdLst>
                <a:gd name="connsiteX0" fmla="*/ 352235 w 342900"/>
                <a:gd name="connsiteY0" fmla="*/ 176117 h 342900"/>
                <a:gd name="connsiteX1" fmla="*/ 176117 w 342900"/>
                <a:gd name="connsiteY1" fmla="*/ 352235 h 342900"/>
                <a:gd name="connsiteX2" fmla="*/ 0 w 342900"/>
                <a:gd name="connsiteY2" fmla="*/ 176117 h 342900"/>
                <a:gd name="connsiteX3" fmla="*/ 176117 w 342900"/>
                <a:gd name="connsiteY3" fmla="*/ 0 h 342900"/>
                <a:gd name="connsiteX4" fmla="*/ 352235 w 342900"/>
                <a:gd name="connsiteY4" fmla="*/ 176117 h 342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2900" h="342900">
                  <a:moveTo>
                    <a:pt x="352235" y="176117"/>
                  </a:moveTo>
                  <a:cubicBezTo>
                    <a:pt x="352235" y="273384"/>
                    <a:pt x="273384" y="352235"/>
                    <a:pt x="176117" y="352235"/>
                  </a:cubicBezTo>
                  <a:cubicBezTo>
                    <a:pt x="78851" y="352235"/>
                    <a:pt x="0" y="273384"/>
                    <a:pt x="0" y="176117"/>
                  </a:cubicBezTo>
                  <a:cubicBezTo>
                    <a:pt x="0" y="78850"/>
                    <a:pt x="78851" y="0"/>
                    <a:pt x="176117" y="0"/>
                  </a:cubicBezTo>
                  <a:cubicBezTo>
                    <a:pt x="273384" y="0"/>
                    <a:pt x="352235" y="78850"/>
                    <a:pt x="352235" y="176117"/>
                  </a:cubicBezTo>
                  <a:close/>
                </a:path>
              </a:pathLst>
            </a:custGeom>
            <a:solidFill>
              <a:srgbClr val="FFDB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微软雅黑"/>
                <a:cs typeface="+mn-cs"/>
              </a:endParaRPr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403B7264-D030-4CF8-8155-BF068253D50F}"/>
                </a:ext>
              </a:extLst>
            </p:cNvPr>
            <p:cNvSpPr/>
            <p:nvPr/>
          </p:nvSpPr>
          <p:spPr>
            <a:xfrm>
              <a:off x="5366774" y="5087534"/>
              <a:ext cx="152400" cy="228602"/>
            </a:xfrm>
            <a:custGeom>
              <a:avLst/>
              <a:gdLst>
                <a:gd name="connsiteX0" fmla="*/ 21698 w 152400"/>
                <a:gd name="connsiteY0" fmla="*/ 111633 h 228600"/>
                <a:gd name="connsiteX1" fmla="*/ 19603 w 152400"/>
                <a:gd name="connsiteY1" fmla="*/ 152495 h 228600"/>
                <a:gd name="connsiteX2" fmla="*/ 55036 w 152400"/>
                <a:gd name="connsiteY2" fmla="*/ 97631 h 228600"/>
                <a:gd name="connsiteX3" fmla="*/ 79134 w 152400"/>
                <a:gd name="connsiteY3" fmla="*/ 0 h 228600"/>
                <a:gd name="connsiteX4" fmla="*/ 126759 w 152400"/>
                <a:gd name="connsiteY4" fmla="*/ 39338 h 228600"/>
                <a:gd name="connsiteX5" fmla="*/ 153715 w 152400"/>
                <a:gd name="connsiteY5" fmla="*/ 144113 h 228600"/>
                <a:gd name="connsiteX6" fmla="*/ 59798 w 152400"/>
                <a:gd name="connsiteY6" fmla="*/ 235077 h 228600"/>
                <a:gd name="connsiteX7" fmla="*/ 21698 w 152400"/>
                <a:gd name="connsiteY7" fmla="*/ 111633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2400" h="228600">
                  <a:moveTo>
                    <a:pt x="21698" y="111633"/>
                  </a:moveTo>
                  <a:cubicBezTo>
                    <a:pt x="14269" y="123730"/>
                    <a:pt x="13412" y="139732"/>
                    <a:pt x="19603" y="152495"/>
                  </a:cubicBezTo>
                  <a:cubicBezTo>
                    <a:pt x="18936" y="130112"/>
                    <a:pt x="40272" y="114491"/>
                    <a:pt x="55036" y="97631"/>
                  </a:cubicBezTo>
                  <a:cubicBezTo>
                    <a:pt x="77991" y="71438"/>
                    <a:pt x="87230" y="33814"/>
                    <a:pt x="79134" y="0"/>
                  </a:cubicBezTo>
                  <a:cubicBezTo>
                    <a:pt x="99708" y="4763"/>
                    <a:pt x="115424" y="21527"/>
                    <a:pt x="126759" y="39338"/>
                  </a:cubicBezTo>
                  <a:cubicBezTo>
                    <a:pt x="146476" y="70295"/>
                    <a:pt x="157144" y="107537"/>
                    <a:pt x="153715" y="144113"/>
                  </a:cubicBezTo>
                  <a:cubicBezTo>
                    <a:pt x="149810" y="185738"/>
                    <a:pt x="113424" y="252413"/>
                    <a:pt x="59798" y="235077"/>
                  </a:cubicBezTo>
                  <a:cubicBezTo>
                    <a:pt x="3982" y="217075"/>
                    <a:pt x="-21355" y="151733"/>
                    <a:pt x="21698" y="111633"/>
                  </a:cubicBezTo>
                  <a:close/>
                </a:path>
              </a:pathLst>
            </a:custGeom>
            <a:solidFill>
              <a:srgbClr val="FBC73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微软雅黑"/>
                <a:cs typeface="+mn-cs"/>
              </a:endParaRPr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8AE8F8B3-5F11-4F07-B738-D8CBE3DC99E1}"/>
                </a:ext>
              </a:extLst>
            </p:cNvPr>
            <p:cNvSpPr/>
            <p:nvPr/>
          </p:nvSpPr>
          <p:spPr>
            <a:xfrm>
              <a:off x="5397532" y="5196787"/>
              <a:ext cx="85725" cy="123826"/>
            </a:xfrm>
            <a:custGeom>
              <a:avLst/>
              <a:gdLst>
                <a:gd name="connsiteX0" fmla="*/ 4562 w 85725"/>
                <a:gd name="connsiteY0" fmla="*/ 100679 h 123825"/>
                <a:gd name="connsiteX1" fmla="*/ 4467 w 85725"/>
                <a:gd name="connsiteY1" fmla="*/ 69056 h 123825"/>
                <a:gd name="connsiteX2" fmla="*/ 10182 w 85725"/>
                <a:gd name="connsiteY2" fmla="*/ 84582 h 123825"/>
                <a:gd name="connsiteX3" fmla="*/ 21897 w 85725"/>
                <a:gd name="connsiteY3" fmla="*/ 58293 h 123825"/>
                <a:gd name="connsiteX4" fmla="*/ 47139 w 85725"/>
                <a:gd name="connsiteY4" fmla="*/ 41529 h 123825"/>
                <a:gd name="connsiteX5" fmla="*/ 69141 w 85725"/>
                <a:gd name="connsiteY5" fmla="*/ 0 h 123825"/>
                <a:gd name="connsiteX6" fmla="*/ 72189 w 85725"/>
                <a:gd name="connsiteY6" fmla="*/ 73723 h 123825"/>
                <a:gd name="connsiteX7" fmla="*/ 89620 w 85725"/>
                <a:gd name="connsiteY7" fmla="*/ 54673 h 123825"/>
                <a:gd name="connsiteX8" fmla="*/ 78762 w 85725"/>
                <a:gd name="connsiteY8" fmla="*/ 101918 h 123825"/>
                <a:gd name="connsiteX9" fmla="*/ 4562 w 85725"/>
                <a:gd name="connsiteY9" fmla="*/ 100679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5725" h="123825">
                  <a:moveTo>
                    <a:pt x="4562" y="100679"/>
                  </a:moveTo>
                  <a:cubicBezTo>
                    <a:pt x="-867" y="90964"/>
                    <a:pt x="-2105" y="78010"/>
                    <a:pt x="4467" y="69056"/>
                  </a:cubicBezTo>
                  <a:cubicBezTo>
                    <a:pt x="5229" y="74581"/>
                    <a:pt x="7229" y="79915"/>
                    <a:pt x="10182" y="84582"/>
                  </a:cubicBezTo>
                  <a:cubicBezTo>
                    <a:pt x="7896" y="74771"/>
                    <a:pt x="14182" y="64770"/>
                    <a:pt x="21897" y="58293"/>
                  </a:cubicBezTo>
                  <a:cubicBezTo>
                    <a:pt x="29708" y="51911"/>
                    <a:pt x="39138" y="47720"/>
                    <a:pt x="47139" y="41529"/>
                  </a:cubicBezTo>
                  <a:cubicBezTo>
                    <a:pt x="59807" y="31528"/>
                    <a:pt x="67998" y="16097"/>
                    <a:pt x="69141" y="0"/>
                  </a:cubicBezTo>
                  <a:cubicBezTo>
                    <a:pt x="75333" y="24289"/>
                    <a:pt x="81429" y="50483"/>
                    <a:pt x="72189" y="73723"/>
                  </a:cubicBezTo>
                  <a:cubicBezTo>
                    <a:pt x="79333" y="68866"/>
                    <a:pt x="85429" y="62294"/>
                    <a:pt x="89620" y="54673"/>
                  </a:cubicBezTo>
                  <a:cubicBezTo>
                    <a:pt x="94383" y="70771"/>
                    <a:pt x="89430" y="88868"/>
                    <a:pt x="78762" y="101918"/>
                  </a:cubicBezTo>
                  <a:cubicBezTo>
                    <a:pt x="55425" y="130588"/>
                    <a:pt x="23612" y="134779"/>
                    <a:pt x="4562" y="100679"/>
                  </a:cubicBezTo>
                  <a:close/>
                </a:path>
              </a:pathLst>
            </a:custGeom>
            <a:solidFill>
              <a:srgbClr val="F9A60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微软雅黑"/>
                <a:cs typeface="+mn-cs"/>
              </a:endParaRPr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B2E49155-FC47-4646-A2DB-68732CFAAC51}"/>
                </a:ext>
              </a:extLst>
            </p:cNvPr>
            <p:cNvSpPr/>
            <p:nvPr/>
          </p:nvSpPr>
          <p:spPr>
            <a:xfrm>
              <a:off x="5313988" y="5341568"/>
              <a:ext cx="257175" cy="38100"/>
            </a:xfrm>
            <a:custGeom>
              <a:avLst/>
              <a:gdLst>
                <a:gd name="connsiteX0" fmla="*/ 45434 w 257175"/>
                <a:gd name="connsiteY0" fmla="*/ 0 h 38100"/>
                <a:gd name="connsiteX1" fmla="*/ 214598 w 257175"/>
                <a:gd name="connsiteY1" fmla="*/ 0 h 38100"/>
                <a:gd name="connsiteX2" fmla="*/ 260033 w 257175"/>
                <a:gd name="connsiteY2" fmla="*/ 45434 h 38100"/>
                <a:gd name="connsiteX3" fmla="*/ 260033 w 257175"/>
                <a:gd name="connsiteY3" fmla="*/ 45434 h 38100"/>
                <a:gd name="connsiteX4" fmla="*/ 0 w 257175"/>
                <a:gd name="connsiteY4" fmla="*/ 45434 h 38100"/>
                <a:gd name="connsiteX5" fmla="*/ 0 w 257175"/>
                <a:gd name="connsiteY5" fmla="*/ 45434 h 38100"/>
                <a:gd name="connsiteX6" fmla="*/ 45434 w 257175"/>
                <a:gd name="connsiteY6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7175" h="38100">
                  <a:moveTo>
                    <a:pt x="45434" y="0"/>
                  </a:moveTo>
                  <a:lnTo>
                    <a:pt x="214598" y="0"/>
                  </a:lnTo>
                  <a:cubicBezTo>
                    <a:pt x="239649" y="0"/>
                    <a:pt x="260033" y="20288"/>
                    <a:pt x="260033" y="45434"/>
                  </a:cubicBezTo>
                  <a:lnTo>
                    <a:pt x="260033" y="45434"/>
                  </a:lnTo>
                  <a:lnTo>
                    <a:pt x="0" y="45434"/>
                  </a:lnTo>
                  <a:lnTo>
                    <a:pt x="0" y="45434"/>
                  </a:lnTo>
                  <a:cubicBezTo>
                    <a:pt x="0" y="20288"/>
                    <a:pt x="20288" y="0"/>
                    <a:pt x="45434" y="0"/>
                  </a:cubicBezTo>
                  <a:close/>
                </a:path>
              </a:pathLst>
            </a:custGeom>
            <a:solidFill>
              <a:srgbClr val="2D406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微软雅黑"/>
                <a:cs typeface="+mn-cs"/>
              </a:endParaRPr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30BCCD8F-1EE0-48BF-BE34-F2F4B0E25FC6}"/>
                </a:ext>
              </a:extLst>
            </p:cNvPr>
            <p:cNvSpPr/>
            <p:nvPr/>
          </p:nvSpPr>
          <p:spPr>
            <a:xfrm>
              <a:off x="6095702" y="4547176"/>
              <a:ext cx="104775" cy="104776"/>
            </a:xfrm>
            <a:custGeom>
              <a:avLst/>
              <a:gdLst>
                <a:gd name="connsiteX0" fmla="*/ 113348 w 104775"/>
                <a:gd name="connsiteY0" fmla="*/ 1 h 104775"/>
                <a:gd name="connsiteX1" fmla="*/ 0 w 104775"/>
                <a:gd name="connsiteY1" fmla="*/ 3811 h 104775"/>
                <a:gd name="connsiteX2" fmla="*/ 0 w 104775"/>
                <a:gd name="connsiteY2" fmla="*/ 109729 h 104775"/>
                <a:gd name="connsiteX3" fmla="*/ 113348 w 104775"/>
                <a:gd name="connsiteY3" fmla="*/ 85155 h 104775"/>
                <a:gd name="connsiteX4" fmla="*/ 113348 w 104775"/>
                <a:gd name="connsiteY4" fmla="*/ 1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775" h="104775">
                  <a:moveTo>
                    <a:pt x="113348" y="1"/>
                  </a:moveTo>
                  <a:cubicBezTo>
                    <a:pt x="75534" y="1"/>
                    <a:pt x="37815" y="-189"/>
                    <a:pt x="0" y="3811"/>
                  </a:cubicBezTo>
                  <a:lnTo>
                    <a:pt x="0" y="109729"/>
                  </a:lnTo>
                  <a:cubicBezTo>
                    <a:pt x="37815" y="101347"/>
                    <a:pt x="75534" y="93251"/>
                    <a:pt x="113348" y="85155"/>
                  </a:cubicBezTo>
                  <a:lnTo>
                    <a:pt x="113348" y="1"/>
                  </a:lnTo>
                  <a:close/>
                </a:path>
              </a:pathLst>
            </a:custGeom>
            <a:solidFill>
              <a:srgbClr val="FFDB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微软雅黑"/>
                <a:cs typeface="+mn-cs"/>
              </a:endParaRPr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1CF9BBF6-8D7F-411C-BCEE-B3CF79ABC2CA}"/>
                </a:ext>
              </a:extLst>
            </p:cNvPr>
            <p:cNvSpPr/>
            <p:nvPr/>
          </p:nvSpPr>
          <p:spPr>
            <a:xfrm>
              <a:off x="6095702" y="4632234"/>
              <a:ext cx="104775" cy="1295410"/>
            </a:xfrm>
            <a:custGeom>
              <a:avLst/>
              <a:gdLst>
                <a:gd name="connsiteX0" fmla="*/ 0 w 104775"/>
                <a:gd name="connsiteY0" fmla="*/ 24574 h 1295400"/>
                <a:gd name="connsiteX1" fmla="*/ 0 w 104775"/>
                <a:gd name="connsiteY1" fmla="*/ 1300448 h 1295400"/>
                <a:gd name="connsiteX2" fmla="*/ 113348 w 104775"/>
                <a:gd name="connsiteY2" fmla="*/ 1300448 h 1295400"/>
                <a:gd name="connsiteX3" fmla="*/ 113348 w 104775"/>
                <a:gd name="connsiteY3" fmla="*/ 0 h 1295400"/>
                <a:gd name="connsiteX4" fmla="*/ 0 w 104775"/>
                <a:gd name="connsiteY4" fmla="*/ 24574 h 129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775" h="1295400">
                  <a:moveTo>
                    <a:pt x="0" y="24574"/>
                  </a:moveTo>
                  <a:lnTo>
                    <a:pt x="0" y="1300448"/>
                  </a:lnTo>
                  <a:lnTo>
                    <a:pt x="113348" y="1300448"/>
                  </a:lnTo>
                  <a:lnTo>
                    <a:pt x="113348" y="0"/>
                  </a:lnTo>
                  <a:cubicBezTo>
                    <a:pt x="75534" y="8191"/>
                    <a:pt x="37719" y="16192"/>
                    <a:pt x="0" y="24574"/>
                  </a:cubicBezTo>
                  <a:close/>
                </a:path>
              </a:pathLst>
            </a:custGeom>
            <a:solidFill>
              <a:srgbClr val="FFDB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微软雅黑"/>
                <a:cs typeface="+mn-cs"/>
              </a:endParaRPr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30480E3A-0817-4237-A099-9FBC0CE3FA53}"/>
                </a:ext>
              </a:extLst>
            </p:cNvPr>
            <p:cNvSpPr/>
            <p:nvPr/>
          </p:nvSpPr>
          <p:spPr>
            <a:xfrm>
              <a:off x="6095702" y="4135786"/>
              <a:ext cx="104775" cy="409578"/>
            </a:xfrm>
            <a:custGeom>
              <a:avLst/>
              <a:gdLst>
                <a:gd name="connsiteX0" fmla="*/ 113348 w 104775"/>
                <a:gd name="connsiteY0" fmla="*/ 411385 h 409575"/>
                <a:gd name="connsiteX1" fmla="*/ 113348 w 104775"/>
                <a:gd name="connsiteY1" fmla="*/ 0 h 409575"/>
                <a:gd name="connsiteX2" fmla="*/ 0 w 104775"/>
                <a:gd name="connsiteY2" fmla="*/ 0 h 409575"/>
                <a:gd name="connsiteX3" fmla="*/ 0 w 104775"/>
                <a:gd name="connsiteY3" fmla="*/ 415195 h 409575"/>
                <a:gd name="connsiteX4" fmla="*/ 113348 w 104775"/>
                <a:gd name="connsiteY4" fmla="*/ 411385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775" h="409575">
                  <a:moveTo>
                    <a:pt x="113348" y="411385"/>
                  </a:moveTo>
                  <a:lnTo>
                    <a:pt x="113348" y="0"/>
                  </a:lnTo>
                  <a:lnTo>
                    <a:pt x="0" y="0"/>
                  </a:lnTo>
                  <a:lnTo>
                    <a:pt x="0" y="415195"/>
                  </a:lnTo>
                  <a:cubicBezTo>
                    <a:pt x="37719" y="411194"/>
                    <a:pt x="75534" y="411385"/>
                    <a:pt x="113348" y="411385"/>
                  </a:cubicBezTo>
                  <a:close/>
                </a:path>
              </a:pathLst>
            </a:custGeom>
            <a:solidFill>
              <a:srgbClr val="FFDB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微软雅黑"/>
                <a:cs typeface="+mn-cs"/>
              </a:endParaRPr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95EF1379-4E92-481D-894E-ED2B361BE6AF}"/>
                </a:ext>
              </a:extLst>
            </p:cNvPr>
            <p:cNvSpPr/>
            <p:nvPr/>
          </p:nvSpPr>
          <p:spPr>
            <a:xfrm>
              <a:off x="4836500" y="4522314"/>
              <a:ext cx="1419223" cy="66675"/>
            </a:xfrm>
            <a:custGeom>
              <a:avLst/>
              <a:gdLst>
                <a:gd name="connsiteX0" fmla="*/ 1396937 w 1419225"/>
                <a:gd name="connsiteY0" fmla="*/ 66866 h 66675"/>
                <a:gd name="connsiteX1" fmla="*/ 13621 w 1419225"/>
                <a:gd name="connsiteY1" fmla="*/ 66866 h 66675"/>
                <a:gd name="connsiteX2" fmla="*/ 0 w 1419225"/>
                <a:gd name="connsiteY2" fmla="*/ 53245 h 66675"/>
                <a:gd name="connsiteX3" fmla="*/ 0 w 1419225"/>
                <a:gd name="connsiteY3" fmla="*/ 13621 h 66675"/>
                <a:gd name="connsiteX4" fmla="*/ 13621 w 1419225"/>
                <a:gd name="connsiteY4" fmla="*/ 0 h 66675"/>
                <a:gd name="connsiteX5" fmla="*/ 1412177 w 1419225"/>
                <a:gd name="connsiteY5" fmla="*/ 0 h 66675"/>
                <a:gd name="connsiteX6" fmla="*/ 1424845 w 1419225"/>
                <a:gd name="connsiteY6" fmla="*/ 18479 h 66675"/>
                <a:gd name="connsiteX7" fmla="*/ 1409510 w 1419225"/>
                <a:gd name="connsiteY7" fmla="*/ 58103 h 66675"/>
                <a:gd name="connsiteX8" fmla="*/ 1396937 w 1419225"/>
                <a:gd name="connsiteY8" fmla="*/ 66866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19225" h="66675">
                  <a:moveTo>
                    <a:pt x="1396937" y="66866"/>
                  </a:moveTo>
                  <a:lnTo>
                    <a:pt x="13621" y="66866"/>
                  </a:lnTo>
                  <a:cubicBezTo>
                    <a:pt x="6096" y="66866"/>
                    <a:pt x="0" y="60770"/>
                    <a:pt x="0" y="53245"/>
                  </a:cubicBezTo>
                  <a:lnTo>
                    <a:pt x="0" y="13621"/>
                  </a:lnTo>
                  <a:cubicBezTo>
                    <a:pt x="0" y="6096"/>
                    <a:pt x="6096" y="0"/>
                    <a:pt x="13621" y="0"/>
                  </a:cubicBezTo>
                  <a:lnTo>
                    <a:pt x="1412177" y="0"/>
                  </a:lnTo>
                  <a:cubicBezTo>
                    <a:pt x="1421702" y="0"/>
                    <a:pt x="1428274" y="9620"/>
                    <a:pt x="1424845" y="18479"/>
                  </a:cubicBezTo>
                  <a:lnTo>
                    <a:pt x="1409510" y="58103"/>
                  </a:lnTo>
                  <a:cubicBezTo>
                    <a:pt x="1407605" y="63437"/>
                    <a:pt x="1402557" y="66866"/>
                    <a:pt x="1396937" y="66866"/>
                  </a:cubicBezTo>
                  <a:close/>
                </a:path>
              </a:pathLst>
            </a:custGeom>
            <a:solidFill>
              <a:srgbClr val="FFDB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微软雅黑"/>
                <a:cs typeface="+mn-cs"/>
              </a:endParaRPr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826BA8D0-6AD8-44F3-AD02-F0CE688B6DA5}"/>
                </a:ext>
              </a:extLst>
            </p:cNvPr>
            <p:cNvSpPr/>
            <p:nvPr/>
          </p:nvSpPr>
          <p:spPr>
            <a:xfrm>
              <a:off x="5066148" y="5375094"/>
              <a:ext cx="1066799" cy="28575"/>
            </a:xfrm>
            <a:custGeom>
              <a:avLst/>
              <a:gdLst>
                <a:gd name="connsiteX0" fmla="*/ 1048322 w 1066800"/>
                <a:gd name="connsiteY0" fmla="*/ 35147 h 28575"/>
                <a:gd name="connsiteX1" fmla="*/ 10192 w 1066800"/>
                <a:gd name="connsiteY1" fmla="*/ 35147 h 28575"/>
                <a:gd name="connsiteX2" fmla="*/ 0 w 1066800"/>
                <a:gd name="connsiteY2" fmla="*/ 28004 h 28575"/>
                <a:gd name="connsiteX3" fmla="*/ 0 w 1066800"/>
                <a:gd name="connsiteY3" fmla="*/ 7144 h 28575"/>
                <a:gd name="connsiteX4" fmla="*/ 10192 w 1066800"/>
                <a:gd name="connsiteY4" fmla="*/ 0 h 28575"/>
                <a:gd name="connsiteX5" fmla="*/ 1059847 w 1066800"/>
                <a:gd name="connsiteY5" fmla="*/ 0 h 28575"/>
                <a:gd name="connsiteX6" fmla="*/ 1069372 w 1066800"/>
                <a:gd name="connsiteY6" fmla="*/ 9715 h 28575"/>
                <a:gd name="connsiteX7" fmla="*/ 1057847 w 1066800"/>
                <a:gd name="connsiteY7" fmla="*/ 30575 h 28575"/>
                <a:gd name="connsiteX8" fmla="*/ 1048322 w 1066800"/>
                <a:gd name="connsiteY8" fmla="*/ 35147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66800" h="28575">
                  <a:moveTo>
                    <a:pt x="1048322" y="35147"/>
                  </a:moveTo>
                  <a:lnTo>
                    <a:pt x="10192" y="35147"/>
                  </a:lnTo>
                  <a:cubicBezTo>
                    <a:pt x="4572" y="35147"/>
                    <a:pt x="0" y="31909"/>
                    <a:pt x="0" y="28004"/>
                  </a:cubicBezTo>
                  <a:lnTo>
                    <a:pt x="0" y="7144"/>
                  </a:lnTo>
                  <a:cubicBezTo>
                    <a:pt x="0" y="3238"/>
                    <a:pt x="4572" y="0"/>
                    <a:pt x="10192" y="0"/>
                  </a:cubicBezTo>
                  <a:lnTo>
                    <a:pt x="1059847" y="0"/>
                  </a:lnTo>
                  <a:cubicBezTo>
                    <a:pt x="1066991" y="0"/>
                    <a:pt x="1071943" y="5048"/>
                    <a:pt x="1069372" y="9715"/>
                  </a:cubicBezTo>
                  <a:lnTo>
                    <a:pt x="1057847" y="30575"/>
                  </a:lnTo>
                  <a:cubicBezTo>
                    <a:pt x="1056323" y="33242"/>
                    <a:pt x="1052513" y="35147"/>
                    <a:pt x="1048322" y="35147"/>
                  </a:cubicBezTo>
                  <a:close/>
                </a:path>
              </a:pathLst>
            </a:custGeom>
            <a:solidFill>
              <a:srgbClr val="FFDB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微软雅黑"/>
                <a:cs typeface="+mn-cs"/>
              </a:endParaRPr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EB0B00BB-746F-4AFA-BBE3-03F6EADF98E8}"/>
                </a:ext>
              </a:extLst>
            </p:cNvPr>
            <p:cNvSpPr/>
            <p:nvPr/>
          </p:nvSpPr>
          <p:spPr>
            <a:xfrm>
              <a:off x="5998644" y="4479356"/>
              <a:ext cx="266700" cy="266702"/>
            </a:xfrm>
            <a:custGeom>
              <a:avLst/>
              <a:gdLst>
                <a:gd name="connsiteX0" fmla="*/ 268986 w 266700"/>
                <a:gd name="connsiteY0" fmla="*/ 134493 h 266700"/>
                <a:gd name="connsiteX1" fmla="*/ 134493 w 266700"/>
                <a:gd name="connsiteY1" fmla="*/ 268986 h 266700"/>
                <a:gd name="connsiteX2" fmla="*/ 0 w 266700"/>
                <a:gd name="connsiteY2" fmla="*/ 134493 h 266700"/>
                <a:gd name="connsiteX3" fmla="*/ 134493 w 266700"/>
                <a:gd name="connsiteY3" fmla="*/ 0 h 266700"/>
                <a:gd name="connsiteX4" fmla="*/ 268986 w 266700"/>
                <a:gd name="connsiteY4" fmla="*/ 134493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700" h="266700">
                  <a:moveTo>
                    <a:pt x="268986" y="134493"/>
                  </a:moveTo>
                  <a:cubicBezTo>
                    <a:pt x="268986" y="208771"/>
                    <a:pt x="208772" y="268986"/>
                    <a:pt x="134493" y="268986"/>
                  </a:cubicBezTo>
                  <a:cubicBezTo>
                    <a:pt x="60215" y="268986"/>
                    <a:pt x="0" y="208771"/>
                    <a:pt x="0" y="134493"/>
                  </a:cubicBezTo>
                  <a:cubicBezTo>
                    <a:pt x="0" y="60215"/>
                    <a:pt x="60215" y="0"/>
                    <a:pt x="134493" y="0"/>
                  </a:cubicBezTo>
                  <a:cubicBezTo>
                    <a:pt x="208772" y="0"/>
                    <a:pt x="268986" y="60215"/>
                    <a:pt x="268986" y="134493"/>
                  </a:cubicBezTo>
                  <a:close/>
                </a:path>
              </a:pathLst>
            </a:custGeom>
            <a:solidFill>
              <a:srgbClr val="F9A60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微软雅黑"/>
                <a:cs typeface="+mn-cs"/>
              </a:endParaRPr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DD3E3503-9FC3-4DB9-BA11-C069D9140673}"/>
                </a:ext>
              </a:extLst>
            </p:cNvPr>
            <p:cNvSpPr/>
            <p:nvPr/>
          </p:nvSpPr>
          <p:spPr>
            <a:xfrm>
              <a:off x="3629779" y="5026762"/>
              <a:ext cx="247650" cy="247652"/>
            </a:xfrm>
            <a:custGeom>
              <a:avLst/>
              <a:gdLst>
                <a:gd name="connsiteX0" fmla="*/ 252032 w 247650"/>
                <a:gd name="connsiteY0" fmla="*/ 126016 h 247650"/>
                <a:gd name="connsiteX1" fmla="*/ 126016 w 247650"/>
                <a:gd name="connsiteY1" fmla="*/ 252032 h 247650"/>
                <a:gd name="connsiteX2" fmla="*/ 0 w 247650"/>
                <a:gd name="connsiteY2" fmla="*/ 126016 h 247650"/>
                <a:gd name="connsiteX3" fmla="*/ 126016 w 247650"/>
                <a:gd name="connsiteY3" fmla="*/ 0 h 247650"/>
                <a:gd name="connsiteX4" fmla="*/ 252032 w 247650"/>
                <a:gd name="connsiteY4" fmla="*/ 126016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650" h="247650">
                  <a:moveTo>
                    <a:pt x="252032" y="126016"/>
                  </a:moveTo>
                  <a:cubicBezTo>
                    <a:pt x="252032" y="195548"/>
                    <a:pt x="195644" y="252032"/>
                    <a:pt x="126016" y="252032"/>
                  </a:cubicBezTo>
                  <a:cubicBezTo>
                    <a:pt x="56388" y="252032"/>
                    <a:pt x="0" y="195644"/>
                    <a:pt x="0" y="126016"/>
                  </a:cubicBezTo>
                  <a:cubicBezTo>
                    <a:pt x="0" y="56483"/>
                    <a:pt x="56388" y="0"/>
                    <a:pt x="126016" y="0"/>
                  </a:cubicBezTo>
                  <a:cubicBezTo>
                    <a:pt x="195644" y="0"/>
                    <a:pt x="252032" y="56483"/>
                    <a:pt x="252032" y="126016"/>
                  </a:cubicBezTo>
                  <a:close/>
                </a:path>
              </a:pathLst>
            </a:custGeom>
            <a:solidFill>
              <a:srgbClr val="DBD75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微软雅黑"/>
                <a:cs typeface="+mn-cs"/>
              </a:endParaRPr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EEC45F5E-1A6B-43FC-BF16-29AECCC82CF9}"/>
                </a:ext>
              </a:extLst>
            </p:cNvPr>
            <p:cNvSpPr/>
            <p:nvPr/>
          </p:nvSpPr>
          <p:spPr>
            <a:xfrm>
              <a:off x="3681595" y="4745392"/>
              <a:ext cx="76200" cy="76201"/>
            </a:xfrm>
            <a:custGeom>
              <a:avLst/>
              <a:gdLst>
                <a:gd name="connsiteX0" fmla="*/ 83820 w 76200"/>
                <a:gd name="connsiteY0" fmla="*/ 41910 h 76200"/>
                <a:gd name="connsiteX1" fmla="*/ 41910 w 76200"/>
                <a:gd name="connsiteY1" fmla="*/ 83820 h 76200"/>
                <a:gd name="connsiteX2" fmla="*/ 0 w 76200"/>
                <a:gd name="connsiteY2" fmla="*/ 41910 h 76200"/>
                <a:gd name="connsiteX3" fmla="*/ 41910 w 76200"/>
                <a:gd name="connsiteY3" fmla="*/ 0 h 76200"/>
                <a:gd name="connsiteX4" fmla="*/ 83820 w 76200"/>
                <a:gd name="connsiteY4" fmla="*/ 4191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83820" y="41910"/>
                  </a:moveTo>
                  <a:cubicBezTo>
                    <a:pt x="83820" y="65056"/>
                    <a:pt x="65056" y="83820"/>
                    <a:pt x="41910" y="83820"/>
                  </a:cubicBezTo>
                  <a:cubicBezTo>
                    <a:pt x="18764" y="83820"/>
                    <a:pt x="0" y="65056"/>
                    <a:pt x="0" y="41910"/>
                  </a:cubicBezTo>
                  <a:cubicBezTo>
                    <a:pt x="0" y="18764"/>
                    <a:pt x="18764" y="0"/>
                    <a:pt x="41910" y="0"/>
                  </a:cubicBezTo>
                  <a:cubicBezTo>
                    <a:pt x="65056" y="0"/>
                    <a:pt x="83820" y="18764"/>
                    <a:pt x="83820" y="41910"/>
                  </a:cubicBezTo>
                  <a:close/>
                </a:path>
              </a:pathLst>
            </a:custGeom>
            <a:solidFill>
              <a:srgbClr val="DBD75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微软雅黑"/>
                <a:cs typeface="+mn-cs"/>
              </a:endParaRPr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5D584376-444E-4257-851D-1026864B524E}"/>
                </a:ext>
              </a:extLst>
            </p:cNvPr>
            <p:cNvSpPr/>
            <p:nvPr/>
          </p:nvSpPr>
          <p:spPr>
            <a:xfrm>
              <a:off x="3522528" y="4876457"/>
              <a:ext cx="123825" cy="123826"/>
            </a:xfrm>
            <a:custGeom>
              <a:avLst/>
              <a:gdLst>
                <a:gd name="connsiteX0" fmla="*/ 131636 w 123825"/>
                <a:gd name="connsiteY0" fmla="*/ 65818 h 123825"/>
                <a:gd name="connsiteX1" fmla="*/ 65818 w 123825"/>
                <a:gd name="connsiteY1" fmla="*/ 131636 h 123825"/>
                <a:gd name="connsiteX2" fmla="*/ 0 w 123825"/>
                <a:gd name="connsiteY2" fmla="*/ 65818 h 123825"/>
                <a:gd name="connsiteX3" fmla="*/ 65818 w 123825"/>
                <a:gd name="connsiteY3" fmla="*/ 0 h 123825"/>
                <a:gd name="connsiteX4" fmla="*/ 131636 w 123825"/>
                <a:gd name="connsiteY4" fmla="*/ 65818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5" h="123825">
                  <a:moveTo>
                    <a:pt x="131636" y="65818"/>
                  </a:moveTo>
                  <a:cubicBezTo>
                    <a:pt x="131636" y="102108"/>
                    <a:pt x="102203" y="131636"/>
                    <a:pt x="65818" y="131636"/>
                  </a:cubicBezTo>
                  <a:cubicBezTo>
                    <a:pt x="29528" y="131636"/>
                    <a:pt x="0" y="102203"/>
                    <a:pt x="0" y="65818"/>
                  </a:cubicBezTo>
                  <a:cubicBezTo>
                    <a:pt x="0" y="29528"/>
                    <a:pt x="29432" y="0"/>
                    <a:pt x="65818" y="0"/>
                  </a:cubicBezTo>
                  <a:cubicBezTo>
                    <a:pt x="102203" y="0"/>
                    <a:pt x="131636" y="29432"/>
                    <a:pt x="131636" y="65818"/>
                  </a:cubicBezTo>
                  <a:close/>
                </a:path>
              </a:pathLst>
            </a:custGeom>
            <a:solidFill>
              <a:srgbClr val="DBD75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微软雅黑"/>
                <a:cs typeface="+mn-cs"/>
              </a:endParaRPr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CDF2AD1B-4CCF-4908-84C7-BFAD6BA79CA0}"/>
                </a:ext>
              </a:extLst>
            </p:cNvPr>
            <p:cNvSpPr/>
            <p:nvPr/>
          </p:nvSpPr>
          <p:spPr>
            <a:xfrm>
              <a:off x="6094857" y="5912739"/>
              <a:ext cx="114300" cy="9525"/>
            </a:xfrm>
            <a:custGeom>
              <a:avLst/>
              <a:gdLst>
                <a:gd name="connsiteX0" fmla="*/ 0 w 114300"/>
                <a:gd name="connsiteY0" fmla="*/ 0 h 0"/>
                <a:gd name="connsiteX1" fmla="*/ 114967 w 11430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4300">
                  <a:moveTo>
                    <a:pt x="0" y="0"/>
                  </a:moveTo>
                  <a:lnTo>
                    <a:pt x="114967" y="0"/>
                  </a:lnTo>
                </a:path>
              </a:pathLst>
            </a:custGeom>
            <a:ln w="4763" cap="flat">
              <a:solidFill>
                <a:srgbClr val="1C172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微软雅黑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9212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10734466" y="305486"/>
            <a:ext cx="1422466" cy="329167"/>
          </a:xfrm>
        </p:spPr>
        <p:txBody>
          <a:bodyPr/>
          <a:lstStyle/>
          <a:p>
            <a:fld id="{F19D29A0-8795-40D8-A6B7-A5E28AE86EFA}" type="slidenum">
              <a:rPr lang="zh-CN" altLang="en-US" smtClean="0"/>
              <a:pPr/>
              <a:t>5</a:t>
            </a:fld>
            <a:endParaRPr lang="zh-CN" altLang="en-US"/>
          </a:p>
        </p:txBody>
      </p:sp>
      <p:grpSp>
        <p:nvGrpSpPr>
          <p:cNvPr id="3" name="组合 2"/>
          <p:cNvGrpSpPr/>
          <p:nvPr/>
        </p:nvGrpSpPr>
        <p:grpSpPr>
          <a:xfrm>
            <a:off x="3218371" y="2349388"/>
            <a:ext cx="932057" cy="537542"/>
            <a:chOff x="2530019" y="2515458"/>
            <a:chExt cx="1152128" cy="664463"/>
          </a:xfrm>
        </p:grpSpPr>
        <p:sp>
          <p:nvSpPr>
            <p:cNvPr id="5" name="圆角矩形 14"/>
            <p:cNvSpPr/>
            <p:nvPr/>
          </p:nvSpPr>
          <p:spPr>
            <a:xfrm>
              <a:off x="2530019" y="2515458"/>
              <a:ext cx="1152128" cy="664463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6" tIns="34288" rIns="68576" bIns="34288"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椭圆 80"/>
            <p:cNvSpPr/>
            <p:nvPr/>
          </p:nvSpPr>
          <p:spPr bwMode="auto">
            <a:xfrm>
              <a:off x="2751115" y="2578521"/>
              <a:ext cx="709935" cy="520016"/>
            </a:xfrm>
            <a:prstGeom prst="ellipse">
              <a:avLst/>
            </a:prstGeom>
            <a:noFill/>
            <a:ln w="25400" cap="flat" cmpd="sng" algn="ctr">
              <a:noFill/>
              <a:prstDash val="solid"/>
            </a:ln>
            <a:effectLst>
              <a:innerShdw blurRad="63500" dist="25400" dir="18660000">
                <a:prstClr val="black">
                  <a:alpha val="35000"/>
                </a:prstClr>
              </a:innerShdw>
            </a:effectLst>
          </p:spPr>
          <p:txBody>
            <a:bodyPr lIns="51432" tIns="25716" rIns="51432" bIns="25716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3200" b="1" kern="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一</a:t>
              </a:r>
            </a:p>
          </p:txBody>
        </p:sp>
      </p:grpSp>
      <p:grpSp>
        <p:nvGrpSpPr>
          <p:cNvPr id="4" name="组合 17"/>
          <p:cNvGrpSpPr/>
          <p:nvPr/>
        </p:nvGrpSpPr>
        <p:grpSpPr>
          <a:xfrm>
            <a:off x="3218378" y="3750958"/>
            <a:ext cx="932057" cy="537542"/>
            <a:chOff x="2530019" y="2515458"/>
            <a:chExt cx="1152128" cy="664463"/>
          </a:xfrm>
        </p:grpSpPr>
        <p:sp>
          <p:nvSpPr>
            <p:cNvPr id="19" name="圆角矩形 14"/>
            <p:cNvSpPr/>
            <p:nvPr/>
          </p:nvSpPr>
          <p:spPr>
            <a:xfrm>
              <a:off x="2530019" y="2515458"/>
              <a:ext cx="1152128" cy="664463"/>
            </a:xfrm>
            <a:prstGeom prst="round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6" tIns="34288" rIns="68576" bIns="34288"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0" name="椭圆 80"/>
            <p:cNvSpPr/>
            <p:nvPr/>
          </p:nvSpPr>
          <p:spPr bwMode="auto">
            <a:xfrm>
              <a:off x="2751115" y="2578521"/>
              <a:ext cx="709935" cy="520016"/>
            </a:xfrm>
            <a:prstGeom prst="ellipse">
              <a:avLst/>
            </a:prstGeom>
            <a:noFill/>
            <a:ln w="25400" cap="flat" cmpd="sng" algn="ctr">
              <a:noFill/>
              <a:prstDash val="solid"/>
            </a:ln>
            <a:effectLst>
              <a:innerShdw blurRad="63500" dist="25400" dir="18660000">
                <a:prstClr val="black">
                  <a:alpha val="35000"/>
                </a:prstClr>
              </a:innerShdw>
            </a:effectLst>
          </p:spPr>
          <p:txBody>
            <a:bodyPr lIns="51432" tIns="25716" rIns="51432" bIns="25716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zh-CN" altLang="en-US" sz="3200" b="1" kern="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二</a:t>
              </a:r>
            </a:p>
          </p:txBody>
        </p:sp>
      </p:grpSp>
      <p:sp>
        <p:nvSpPr>
          <p:cNvPr id="2" name="矩形 39"/>
          <p:cNvSpPr>
            <a:spLocks noChangeArrowheads="1"/>
          </p:cNvSpPr>
          <p:nvPr/>
        </p:nvSpPr>
        <p:spPr bwMode="auto">
          <a:xfrm>
            <a:off x="4693920" y="2157095"/>
            <a:ext cx="5137150" cy="80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  <a:spcBef>
                <a:spcPts val="565"/>
              </a:spcBef>
            </a:pPr>
            <a:r>
              <a:rPr lang="en-US" altLang="zh-CN" sz="3200" dirty="0">
                <a:latin typeface="+mn-ea"/>
                <a:ea typeface="+mn-ea"/>
                <a:cs typeface="宋体" panose="02010600030101010101" pitchFamily="2" charset="-122"/>
              </a:rPr>
              <a:t>【</a:t>
            </a:r>
            <a:r>
              <a:rPr lang="zh-CN" altLang="en-US" sz="3200" dirty="0">
                <a:latin typeface="黑体" pitchFamily="2" charset="-122"/>
                <a:ea typeface="黑体" pitchFamily="2" charset="-122"/>
              </a:rPr>
              <a:t>有机化合物的定义</a:t>
            </a:r>
            <a:r>
              <a:rPr lang="en-US" altLang="zh-CN" sz="3200" dirty="0">
                <a:latin typeface="+mn-ea"/>
                <a:ea typeface="+mn-ea"/>
                <a:cs typeface="宋体" panose="02010600030101010101" pitchFamily="2" charset="-122"/>
              </a:rPr>
              <a:t>】</a:t>
            </a:r>
            <a:endParaRPr lang="zh-CN" altLang="en-US" sz="3200" dirty="0">
              <a:latin typeface="+mn-ea"/>
              <a:ea typeface="+mn-ea"/>
              <a:cs typeface="宋体" panose="02010600030101010101" pitchFamily="2" charset="-122"/>
            </a:endParaRPr>
          </a:p>
        </p:txBody>
      </p:sp>
      <p:sp>
        <p:nvSpPr>
          <p:cNvPr id="7" name="矩形 39"/>
          <p:cNvSpPr>
            <a:spLocks noChangeArrowheads="1"/>
          </p:cNvSpPr>
          <p:nvPr/>
        </p:nvSpPr>
        <p:spPr bwMode="auto">
          <a:xfrm>
            <a:off x="4693920" y="3555365"/>
            <a:ext cx="5273040" cy="80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  <a:spcBef>
                <a:spcPts val="565"/>
              </a:spcBef>
            </a:pPr>
            <a:r>
              <a:rPr lang="en-US" altLang="zh-CN" sz="3200" dirty="0">
                <a:latin typeface="+mn-ea"/>
                <a:ea typeface="+mn-ea"/>
                <a:cs typeface="宋体" panose="02010600030101010101" pitchFamily="2" charset="-122"/>
              </a:rPr>
              <a:t>【</a:t>
            </a:r>
            <a:r>
              <a:rPr lang="zh-CN" altLang="en-US" sz="3200" dirty="0">
                <a:latin typeface="黑体" pitchFamily="2" charset="-122"/>
                <a:ea typeface="黑体" pitchFamily="2" charset="-122"/>
              </a:rPr>
              <a:t>有机化合物的特性</a:t>
            </a:r>
            <a:r>
              <a:rPr lang="en-US" altLang="zh-CN" sz="3200" dirty="0">
                <a:latin typeface="+mn-ea"/>
                <a:ea typeface="+mn-ea"/>
                <a:cs typeface="宋体" panose="02010600030101010101" pitchFamily="2" charset="-122"/>
              </a:rPr>
              <a:t>】</a:t>
            </a:r>
            <a:endParaRPr lang="zh-CN" altLang="en-US" sz="3200" dirty="0">
              <a:latin typeface="+mn-ea"/>
              <a:ea typeface="+mn-ea"/>
              <a:cs typeface="宋体" panose="02010600030101010101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内容占位符 2"/>
          <p:cNvSpPr>
            <a:spLocks noGrp="1"/>
          </p:cNvSpPr>
          <p:nvPr>
            <p:ph idx="1"/>
          </p:nvPr>
        </p:nvSpPr>
        <p:spPr>
          <a:xfrm>
            <a:off x="911424" y="2060848"/>
            <a:ext cx="10729192" cy="3528392"/>
          </a:xfr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eaLnBrk="1" hangingPunct="1"/>
            <a:r>
              <a:rPr lang="zh-CN" altLang="en-US" sz="2800" b="1" dirty="0">
                <a:latin typeface="+mn-ea"/>
              </a:rPr>
              <a:t>有机化合物：碳氢化合物及其衍生物</a:t>
            </a:r>
          </a:p>
          <a:p>
            <a:pPr eaLnBrk="1" hangingPunct="1"/>
            <a:endParaRPr lang="zh-CN" altLang="en-US" sz="2800" b="1" dirty="0">
              <a:latin typeface="+mn-ea"/>
            </a:endParaRPr>
          </a:p>
          <a:p>
            <a:pPr eaLnBrk="1" hangingPunct="1"/>
            <a:r>
              <a:rPr lang="zh-CN" altLang="en-US" sz="2800" b="1" dirty="0">
                <a:latin typeface="+mn-ea"/>
              </a:rPr>
              <a:t>多数有机化合物主要含有碳、氢两种元素，此外也常含有氧、氮、硫、卤素、磷等</a:t>
            </a:r>
          </a:p>
          <a:p>
            <a:pPr eaLnBrk="1" hangingPunct="1"/>
            <a:endParaRPr lang="en-US" altLang="zh-CN" sz="2800" b="1" dirty="0">
              <a:latin typeface="+mn-ea"/>
            </a:endParaRPr>
          </a:p>
          <a:p>
            <a:pPr eaLnBrk="1" hangingPunct="1"/>
            <a:r>
              <a:rPr lang="zh-CN" altLang="en-US" sz="2800" b="1" dirty="0">
                <a:latin typeface="+mn-ea"/>
              </a:rPr>
              <a:t>有机物是生命产生的物质基础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68313B12-A6BA-470E-A5F8-70E300BF56DE}"/>
              </a:ext>
            </a:extLst>
          </p:cNvPr>
          <p:cNvSpPr/>
          <p:nvPr/>
        </p:nvSpPr>
        <p:spPr>
          <a:xfrm>
            <a:off x="3751310" y="764704"/>
            <a:ext cx="4689379" cy="6265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5" tIns="34283" rIns="68565" bIns="34283" rtlCol="0" anchor="ctr"/>
          <a:lstStyle/>
          <a:p>
            <a:pPr algn="ctr"/>
            <a:r>
              <a:rPr lang="zh-CN" altLang="en-US" sz="3200" b="1" dirty="0">
                <a:latin typeface="+mj-ea"/>
                <a:ea typeface="+mj-ea"/>
              </a:rPr>
              <a:t>一、有机化合物的定义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内容占位符 2"/>
          <p:cNvSpPr>
            <a:spLocks noGrp="1"/>
          </p:cNvSpPr>
          <p:nvPr>
            <p:ph idx="1"/>
          </p:nvPr>
        </p:nvSpPr>
        <p:spPr>
          <a:xfrm>
            <a:off x="1732618" y="1844824"/>
            <a:ext cx="9043901" cy="4061048"/>
          </a:xfr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en-US" altLang="zh-CN" sz="2800" b="1" dirty="0">
                <a:latin typeface="+mn-ea"/>
              </a:rPr>
              <a:t>1.</a:t>
            </a:r>
            <a:r>
              <a:rPr lang="zh-CN" altLang="en-US" sz="2800" b="1" dirty="0">
                <a:latin typeface="+mn-ea"/>
              </a:rPr>
              <a:t>容易燃烧</a:t>
            </a:r>
          </a:p>
          <a:p>
            <a:pPr eaLnBrk="1" hangingPunct="1">
              <a:spcBef>
                <a:spcPct val="50000"/>
              </a:spcBef>
            </a:pPr>
            <a:endParaRPr lang="en-US" altLang="zh-CN" sz="2800" b="1" dirty="0">
              <a:latin typeface="+mn-ea"/>
            </a:endParaRPr>
          </a:p>
          <a:p>
            <a:pPr eaLnBrk="1" hangingPunct="1">
              <a:spcBef>
                <a:spcPct val="50000"/>
              </a:spcBef>
            </a:pPr>
            <a:r>
              <a:rPr lang="zh-CN" altLang="en-US" sz="2800" b="1" dirty="0">
                <a:latin typeface="+mn-ea"/>
              </a:rPr>
              <a:t>有机化合物除少数以外，一般都能燃烧</a:t>
            </a:r>
          </a:p>
          <a:p>
            <a:pPr eaLnBrk="1" hangingPunct="1">
              <a:spcBef>
                <a:spcPct val="50000"/>
              </a:spcBef>
              <a:buFont typeface="Arial" charset="0"/>
              <a:buNone/>
            </a:pPr>
            <a:endParaRPr lang="en-US" altLang="zh-CN" sz="2800" b="1" dirty="0">
              <a:latin typeface="+mn-ea"/>
            </a:endParaRPr>
          </a:p>
          <a:p>
            <a:pPr eaLnBrk="1" hangingPunct="1">
              <a:spcBef>
                <a:spcPct val="50000"/>
              </a:spcBef>
            </a:pPr>
            <a:r>
              <a:rPr lang="zh-CN" altLang="en-US" sz="2800" b="1" dirty="0">
                <a:latin typeface="+mn-ea"/>
              </a:rPr>
              <a:t>和无机物相比，</a:t>
            </a:r>
            <a:r>
              <a:rPr lang="zh-CN" altLang="en-US" sz="2800" b="1" dirty="0">
                <a:solidFill>
                  <a:srgbClr val="5FA326"/>
                </a:solidFill>
                <a:latin typeface="+mn-ea"/>
              </a:rPr>
              <a:t>热稳定性比较差</a:t>
            </a:r>
            <a:r>
              <a:rPr lang="zh-CN" altLang="en-US" sz="2800" b="1" dirty="0">
                <a:latin typeface="+mn-ea"/>
              </a:rPr>
              <a:t>，受热容易分解。</a:t>
            </a: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CC335A75-111E-4191-A522-B37156F952D1}"/>
              </a:ext>
            </a:extLst>
          </p:cNvPr>
          <p:cNvSpPr/>
          <p:nvPr/>
        </p:nvSpPr>
        <p:spPr>
          <a:xfrm>
            <a:off x="3751310" y="764704"/>
            <a:ext cx="4689379" cy="6265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5" tIns="34283" rIns="68565" bIns="34283" rtlCol="0" anchor="ctr"/>
          <a:lstStyle/>
          <a:p>
            <a:pPr algn="ctr"/>
            <a:r>
              <a:rPr lang="zh-CN" altLang="en-US" sz="3200" b="1" dirty="0">
                <a:latin typeface="+mj-ea"/>
                <a:ea typeface="+mj-ea"/>
              </a:rPr>
              <a:t>二、有机化合物的特性</a:t>
            </a:r>
          </a:p>
        </p:txBody>
      </p:sp>
      <p:pic>
        <p:nvPicPr>
          <p:cNvPr id="5" name="图片 4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84232" y="1916832"/>
            <a:ext cx="2451735" cy="1525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7" dur="2000"/>
                                        <p:tgtEl>
                                          <p:spTgt spid="2253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" dur="2000"/>
                                        <p:tgtEl>
                                          <p:spTgt spid="225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7" dur="2000"/>
                                        <p:tgtEl>
                                          <p:spTgt spid="225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2" dur="2000"/>
                                        <p:tgtEl>
                                          <p:spTgt spid="225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530" grpId="0" build="p" animBg="1"/>
      <p:bldP spid="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内容占位符 2"/>
          <p:cNvSpPr>
            <a:spLocks noGrp="1"/>
          </p:cNvSpPr>
          <p:nvPr>
            <p:ph idx="1"/>
          </p:nvPr>
        </p:nvSpPr>
        <p:spPr>
          <a:xfrm>
            <a:off x="1739515" y="2276872"/>
            <a:ext cx="8712968" cy="2952328"/>
          </a:xfr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en-US" altLang="zh-CN" sz="2800" b="1" dirty="0">
                <a:latin typeface="+mn-ea"/>
              </a:rPr>
              <a:t>2.</a:t>
            </a:r>
            <a:r>
              <a:rPr lang="zh-CN" altLang="en-US" sz="2800" b="1" dirty="0">
                <a:latin typeface="+mn-ea"/>
              </a:rPr>
              <a:t>熔点较低</a:t>
            </a:r>
          </a:p>
          <a:p>
            <a:pPr eaLnBrk="1" hangingPunct="1">
              <a:spcBef>
                <a:spcPct val="50000"/>
              </a:spcBef>
            </a:pPr>
            <a:endParaRPr lang="en-US" altLang="zh-CN" sz="2800" b="1" dirty="0">
              <a:latin typeface="+mn-ea"/>
            </a:endParaRPr>
          </a:p>
          <a:p>
            <a:pPr eaLnBrk="1" hangingPunct="1">
              <a:spcBef>
                <a:spcPct val="50000"/>
              </a:spcBef>
            </a:pPr>
            <a:r>
              <a:rPr lang="zh-CN" altLang="en-US" sz="2800" b="1" dirty="0">
                <a:latin typeface="+mn-ea"/>
              </a:rPr>
              <a:t>有机物的熔点较低，一般不超过</a:t>
            </a:r>
            <a:r>
              <a:rPr lang="en-US" altLang="zh-CN" sz="2800" b="1" dirty="0">
                <a:latin typeface="+mn-ea"/>
              </a:rPr>
              <a:t>400℃</a:t>
            </a:r>
            <a:r>
              <a:rPr lang="zh-CN" altLang="en-US" sz="2800" b="1" dirty="0">
                <a:latin typeface="+mn-ea"/>
              </a:rPr>
              <a:t>。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59489915-CE1B-4503-BAE6-AF35BB7B76BC}"/>
              </a:ext>
            </a:extLst>
          </p:cNvPr>
          <p:cNvSpPr/>
          <p:nvPr/>
        </p:nvSpPr>
        <p:spPr>
          <a:xfrm>
            <a:off x="3751310" y="764704"/>
            <a:ext cx="4689379" cy="6265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5" tIns="34283" rIns="68565" bIns="34283" rtlCol="0" anchor="ctr"/>
          <a:lstStyle/>
          <a:p>
            <a:pPr algn="ctr"/>
            <a:r>
              <a:rPr lang="zh-CN" altLang="en-US" sz="3200" b="1" dirty="0">
                <a:latin typeface="+mj-ea"/>
                <a:ea typeface="+mj-ea"/>
              </a:rPr>
              <a:t>二、有机化合物的特性</a:t>
            </a:r>
          </a:p>
        </p:txBody>
      </p:sp>
      <p:pic>
        <p:nvPicPr>
          <p:cNvPr id="5" name="图片 4"/>
          <p:cNvPicPr/>
          <p:nvPr/>
        </p:nvPicPr>
        <p:blipFill>
          <a:blip r:embed="rId3" cstate="print"/>
          <a:srcRect r="21016" b="6708"/>
          <a:stretch>
            <a:fillRect/>
          </a:stretch>
        </p:blipFill>
        <p:spPr bwMode="auto">
          <a:xfrm>
            <a:off x="8184232" y="3284984"/>
            <a:ext cx="2193290" cy="1722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内容占位符 2"/>
          <p:cNvSpPr>
            <a:spLocks noGrp="1"/>
          </p:cNvSpPr>
          <p:nvPr>
            <p:ph idx="1"/>
          </p:nvPr>
        </p:nvSpPr>
        <p:spPr>
          <a:xfrm>
            <a:off x="1307467" y="2276872"/>
            <a:ext cx="9577064" cy="2736304"/>
          </a:xfr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eaLnBrk="1" hangingPunct="1">
              <a:spcBef>
                <a:spcPct val="50000"/>
              </a:spcBef>
            </a:pPr>
            <a:r>
              <a:rPr lang="en-US" altLang="zh-CN" sz="2800" b="1" dirty="0"/>
              <a:t>3.</a:t>
            </a:r>
            <a:r>
              <a:rPr lang="zh-CN" altLang="en-US" sz="2800" b="1" dirty="0"/>
              <a:t>难溶于水，易溶于有机溶剂</a:t>
            </a:r>
          </a:p>
          <a:p>
            <a:pPr eaLnBrk="1" hangingPunct="1">
              <a:spcBef>
                <a:spcPct val="50000"/>
              </a:spcBef>
            </a:pPr>
            <a:endParaRPr lang="en-US" altLang="zh-CN" sz="2800" b="1" dirty="0"/>
          </a:p>
          <a:p>
            <a:pPr eaLnBrk="1" hangingPunct="1">
              <a:spcBef>
                <a:spcPct val="50000"/>
              </a:spcBef>
            </a:pPr>
            <a:r>
              <a:rPr lang="zh-CN" altLang="en-US" sz="2800" b="1" dirty="0"/>
              <a:t>有机物的极性很弱，因此大多难溶于水（相似相溶规则）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9DBDD8AD-5E8D-4CDC-BBEB-7F6489C10F42}"/>
              </a:ext>
            </a:extLst>
          </p:cNvPr>
          <p:cNvSpPr/>
          <p:nvPr/>
        </p:nvSpPr>
        <p:spPr>
          <a:xfrm>
            <a:off x="3751310" y="764704"/>
            <a:ext cx="4689379" cy="6265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5" tIns="34283" rIns="68565" bIns="34283" rtlCol="0" anchor="ctr"/>
          <a:lstStyle/>
          <a:p>
            <a:pPr algn="ctr"/>
            <a:r>
              <a:rPr lang="zh-CN" altLang="en-US" sz="3200" b="1" dirty="0">
                <a:latin typeface="+mj-ea"/>
                <a:ea typeface="+mj-ea"/>
              </a:rPr>
              <a:t>二、有机化合物的特性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积分">
  <a:themeElements>
    <a:clrScheme name="积分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B9F25"/>
      </a:hlink>
      <a:folHlink>
        <a:srgbClr val="B26B02"/>
      </a:folHlink>
    </a:clrScheme>
    <a:fontScheme name="积分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积分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85000"/>
            <a:satMod val="125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  <a:shade val="74000"/>
                <a:satMod val="230000"/>
              </a:schemeClr>
              <a:schemeClr val="phClr">
                <a:tint val="92000"/>
                <a:shade val="69000"/>
                <a:satMod val="250000"/>
              </a:schemeClr>
            </a:duotone>
          </a:blip>
          <a:tile tx="0" ty="0" sx="40000" sy="4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tegral" id="{3577F8C9-A904-41D8-97D2-FD898F53F20E}" vid="{682D6EBE-8D36-4FF2-9DB3-F3D8D7B6715D}"/>
    </a:ext>
  </a:extLst>
</a:theme>
</file>

<file path=ppt/theme/theme2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061CE"/>
      </a:accent1>
      <a:accent2>
        <a:srgbClr val="FFA1A0"/>
      </a:accent2>
      <a:accent3>
        <a:srgbClr val="FBC733"/>
      </a:accent3>
      <a:accent4>
        <a:srgbClr val="07B685"/>
      </a:accent4>
      <a:accent5>
        <a:srgbClr val="2D406A"/>
      </a:accent5>
      <a:accent6>
        <a:srgbClr val="93C6FF"/>
      </a:accent6>
      <a:hlink>
        <a:srgbClr val="026CA2"/>
      </a:hlink>
      <a:folHlink>
        <a:srgbClr val="BFBFBF"/>
      </a:folHlink>
    </a:clrScheme>
    <a:fontScheme name="mljwdm1l">
      <a:majorFont>
        <a:latin typeface="" panose="020B0606020104020203"/>
        <a:ea typeface="微软雅黑"/>
        <a:cs typeface=""/>
      </a:majorFont>
      <a:minorFont>
        <a:latin typeface="" panose="020B0602020104020603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3.xml><?xml version="1.0" encoding="utf-8"?>
<a:theme xmlns:a="http://schemas.openxmlformats.org/drawingml/2006/main" name="1_积分">
  <a:themeElements>
    <a:clrScheme name="积分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B9F25"/>
      </a:hlink>
      <a:folHlink>
        <a:srgbClr val="B26B02"/>
      </a:folHlink>
    </a:clrScheme>
    <a:fontScheme name="mljwdm1l">
      <a:majorFont>
        <a:latin typeface="" panose="020B0606020104020203"/>
        <a:ea typeface="微软雅黑"/>
        <a:cs typeface=""/>
      </a:majorFont>
      <a:minorFont>
        <a:latin typeface="" panose="020B0602020104020603"/>
        <a:ea typeface="微软雅黑"/>
        <a:cs typeface=""/>
      </a:minorFont>
    </a:fontScheme>
    <a:fmtScheme name="积分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85000"/>
            <a:satMod val="125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  <a:shade val="74000"/>
                <a:satMod val="230000"/>
              </a:schemeClr>
              <a:schemeClr val="phClr">
                <a:tint val="92000"/>
                <a:shade val="69000"/>
                <a:satMod val="250000"/>
              </a:schemeClr>
            </a:duotone>
          </a:blip>
          <a:tile tx="0" ty="0" sx="40000" sy="4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tegral" id="{3577F8C9-A904-41D8-97D2-FD898F53F20E}" vid="{682D6EBE-8D36-4FF2-9DB3-F3D8D7B6715D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61CE"/>
    </a:accent1>
    <a:accent2>
      <a:srgbClr val="FFA1A0"/>
    </a:accent2>
    <a:accent3>
      <a:srgbClr val="FBC733"/>
    </a:accent3>
    <a:accent4>
      <a:srgbClr val="07B685"/>
    </a:accent4>
    <a:accent5>
      <a:srgbClr val="2D406A"/>
    </a:accent5>
    <a:accent6>
      <a:srgbClr val="93C6FF"/>
    </a:accent6>
    <a:hlink>
      <a:srgbClr val="026CA2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61CE"/>
    </a:accent1>
    <a:accent2>
      <a:srgbClr val="FFA1A0"/>
    </a:accent2>
    <a:accent3>
      <a:srgbClr val="FBC733"/>
    </a:accent3>
    <a:accent4>
      <a:srgbClr val="07B685"/>
    </a:accent4>
    <a:accent5>
      <a:srgbClr val="2D406A"/>
    </a:accent5>
    <a:accent6>
      <a:srgbClr val="93C6FF"/>
    </a:accent6>
    <a:hlink>
      <a:srgbClr val="026CA2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454</TotalTime>
  <Words>1292</Words>
  <Application>Microsoft Office PowerPoint</Application>
  <PresentationFormat>宽屏</PresentationFormat>
  <Paragraphs>230</Paragraphs>
  <Slides>42</Slides>
  <Notes>23</Notes>
  <HiddenSlides>0</HiddenSlides>
  <MMClips>0</MMClips>
  <ScaleCrop>false</ScaleCrop>
  <HeadingPairs>
    <vt:vector size="8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3</vt:i4>
      </vt:variant>
      <vt:variant>
        <vt:lpstr>幻灯片标题</vt:lpstr>
      </vt:variant>
      <vt:variant>
        <vt:i4>42</vt:i4>
      </vt:variant>
    </vt:vector>
  </HeadingPairs>
  <TitlesOfParts>
    <vt:vector size="63" baseType="lpstr">
      <vt:lpstr>方正藏体简体</vt:lpstr>
      <vt:lpstr>黑体</vt:lpstr>
      <vt:lpstr>华文仿宋</vt:lpstr>
      <vt:lpstr>华文中宋</vt:lpstr>
      <vt:lpstr>隶书</vt:lpstr>
      <vt:lpstr>宋体</vt:lpstr>
      <vt:lpstr>微软雅黑</vt:lpstr>
      <vt:lpstr>Arial</vt:lpstr>
      <vt:lpstr>Calibri</vt:lpstr>
      <vt:lpstr>Franklin Gothic Book</vt:lpstr>
      <vt:lpstr>Times New Roman</vt:lpstr>
      <vt:lpstr>Tw Cen MT</vt:lpstr>
      <vt:lpstr>Tw Cen MT Condensed</vt:lpstr>
      <vt:lpstr>Wingdings</vt:lpstr>
      <vt:lpstr>Wingdings 3</vt:lpstr>
      <vt:lpstr>积分</vt:lpstr>
      <vt:lpstr>主题5</vt:lpstr>
      <vt:lpstr>1_积分</vt:lpstr>
      <vt:lpstr>ISIS/Draw Sketch</vt:lpstr>
      <vt:lpstr>ChemSketch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sp2杂化轨道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yzz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Administrator</dc:creator>
  <cp:lastModifiedBy>peiling pan</cp:lastModifiedBy>
  <cp:revision>275</cp:revision>
  <dcterms:created xsi:type="dcterms:W3CDTF">2015-02-05T04:25:00Z</dcterms:created>
  <dcterms:modified xsi:type="dcterms:W3CDTF">2020-02-02T16:06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6479</vt:lpwstr>
  </property>
</Properties>
</file>